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0" r:id="rId4"/>
    <p:sldMasterId id="2147483698" r:id="rId5"/>
    <p:sldMasterId id="2147483732" r:id="rId6"/>
  </p:sldMasterIdLst>
  <p:notesMasterIdLst>
    <p:notesMasterId r:id="rId13"/>
  </p:notesMasterIdLst>
  <p:handoutMasterIdLst>
    <p:handoutMasterId r:id="rId14"/>
  </p:handoutMasterIdLst>
  <p:sldIdLst>
    <p:sldId id="369" r:id="rId7"/>
    <p:sldId id="387" r:id="rId8"/>
    <p:sldId id="390" r:id="rId9"/>
    <p:sldId id="392" r:id="rId10"/>
    <p:sldId id="388" r:id="rId11"/>
    <p:sldId id="389" r:id="rId12"/>
  </p:sldIdLst>
  <p:sldSz cx="12192000" cy="6858000"/>
  <p:notesSz cx="9601200" cy="73152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BE98"/>
    <a:srgbClr val="FFC0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32" autoAdjust="0"/>
    <p:restoredTop sz="94660"/>
  </p:normalViewPr>
  <p:slideViewPr>
    <p:cSldViewPr>
      <p:cViewPr varScale="1">
        <p:scale>
          <a:sx n="96" d="100"/>
          <a:sy n="96" d="100"/>
        </p:scale>
        <p:origin x="160" y="64"/>
      </p:cViewPr>
      <p:guideLst>
        <p:guide orient="horz" pos="2880"/>
        <p:guide pos="2160"/>
      </p:guideLst>
    </p:cSldViewPr>
  </p:slideViewPr>
  <p:notesTextViewPr>
    <p:cViewPr>
      <p:scale>
        <a:sx n="100" d="100"/>
        <a:sy n="100" d="100"/>
      </p:scale>
      <p:origin x="0" y="0"/>
    </p:cViewPr>
  </p:notesTextViewPr>
  <p:notesViewPr>
    <p:cSldViewPr>
      <p:cViewPr varScale="1">
        <p:scale>
          <a:sx n="85" d="100"/>
          <a:sy n="85" d="100"/>
        </p:scale>
        <p:origin x="1934" y="5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EEEE0D-C2D3-4B80-A5C2-B44AC469A72E}" type="doc">
      <dgm:prSet loTypeId="urn:microsoft.com/office/officeart/2011/layout/HexagonRadial" loCatId="cycle" qsTypeId="urn:microsoft.com/office/officeart/2005/8/quickstyle/simple1" qsCatId="simple" csTypeId="urn:microsoft.com/office/officeart/2005/8/colors/colorful1" csCatId="colorful" phldr="1"/>
      <dgm:spPr/>
      <dgm:t>
        <a:bodyPr/>
        <a:lstStyle/>
        <a:p>
          <a:endParaRPr lang="en-US"/>
        </a:p>
      </dgm:t>
    </dgm:pt>
    <dgm:pt modelId="{8FBD791E-2FC2-4C61-B245-518FBB974C23}">
      <dgm:prSet phldrT="[Text]" custT="1"/>
      <dgm:spPr/>
      <dgm:t>
        <a:bodyPr/>
        <a:lstStyle/>
        <a:p>
          <a:r>
            <a:rPr lang="en-US" sz="1800" b="1" dirty="0"/>
            <a:t>Quality Management</a:t>
          </a:r>
        </a:p>
      </dgm:t>
    </dgm:pt>
    <dgm:pt modelId="{09AC671A-8167-4316-9ABD-CE338187E699}" type="parTrans" cxnId="{EC95E051-4CA6-43C5-8ECF-C4C401174736}">
      <dgm:prSet/>
      <dgm:spPr/>
      <dgm:t>
        <a:bodyPr/>
        <a:lstStyle/>
        <a:p>
          <a:endParaRPr lang="en-US"/>
        </a:p>
      </dgm:t>
    </dgm:pt>
    <dgm:pt modelId="{4DCB2977-7857-4BC3-B711-F5E67258297F}" type="sibTrans" cxnId="{EC95E051-4CA6-43C5-8ECF-C4C401174736}">
      <dgm:prSet/>
      <dgm:spPr/>
      <dgm:t>
        <a:bodyPr/>
        <a:lstStyle/>
        <a:p>
          <a:endParaRPr lang="en-US"/>
        </a:p>
      </dgm:t>
    </dgm:pt>
    <dgm:pt modelId="{84BCF23B-E3C1-414B-9833-F99736B948B7}">
      <dgm:prSet phldrT="[Text]"/>
      <dgm:spPr/>
      <dgm:t>
        <a:bodyPr/>
        <a:lstStyle/>
        <a:p>
          <a:r>
            <a:rPr lang="en-US" dirty="0"/>
            <a:t>Contribution on audit impact</a:t>
          </a:r>
        </a:p>
      </dgm:t>
    </dgm:pt>
    <dgm:pt modelId="{10FB6244-3FD6-4E9B-B777-EF413DBAF74B}" type="parTrans" cxnId="{3B2A4969-C1C4-48B4-AEF1-DFCB291842FB}">
      <dgm:prSet/>
      <dgm:spPr/>
      <dgm:t>
        <a:bodyPr/>
        <a:lstStyle/>
        <a:p>
          <a:endParaRPr lang="en-US"/>
        </a:p>
      </dgm:t>
    </dgm:pt>
    <dgm:pt modelId="{44E02F95-8DED-4006-9748-1AB7AB5051F0}" type="sibTrans" cxnId="{3B2A4969-C1C4-48B4-AEF1-DFCB291842FB}">
      <dgm:prSet/>
      <dgm:spPr/>
      <dgm:t>
        <a:bodyPr/>
        <a:lstStyle/>
        <a:p>
          <a:endParaRPr lang="en-US"/>
        </a:p>
      </dgm:t>
    </dgm:pt>
    <dgm:pt modelId="{5F17E2FD-C8A0-4055-AD41-F7659E127747}">
      <dgm:prSet phldrT="[Text]"/>
      <dgm:spPr/>
      <dgm:t>
        <a:bodyPr/>
        <a:lstStyle/>
        <a:p>
          <a:r>
            <a:rPr lang="en-US" dirty="0"/>
            <a:t>Key changes between QC and QM </a:t>
          </a:r>
        </a:p>
      </dgm:t>
    </dgm:pt>
    <dgm:pt modelId="{A817BE82-CE4D-4A5D-8D0A-2F630D234884}" type="parTrans" cxnId="{1A9242E2-0659-4E68-8EB5-4091C28548E2}">
      <dgm:prSet/>
      <dgm:spPr/>
      <dgm:t>
        <a:bodyPr/>
        <a:lstStyle/>
        <a:p>
          <a:endParaRPr lang="en-US"/>
        </a:p>
      </dgm:t>
    </dgm:pt>
    <dgm:pt modelId="{4D847888-F7E4-49E6-A251-310E9E9AA5E0}" type="sibTrans" cxnId="{1A9242E2-0659-4E68-8EB5-4091C28548E2}">
      <dgm:prSet/>
      <dgm:spPr/>
      <dgm:t>
        <a:bodyPr/>
        <a:lstStyle/>
        <a:p>
          <a:endParaRPr lang="en-US"/>
        </a:p>
      </dgm:t>
    </dgm:pt>
    <dgm:pt modelId="{4732D342-B471-4ABE-9376-C8998C299DCD}">
      <dgm:prSet phldrT="[Text]"/>
      <dgm:spPr>
        <a:solidFill>
          <a:srgbClr val="FFC000"/>
        </a:solidFill>
      </dgm:spPr>
      <dgm:t>
        <a:bodyPr/>
        <a:lstStyle/>
        <a:p>
          <a:r>
            <a:rPr lang="en-US" dirty="0"/>
            <a:t>critical steps in QM process</a:t>
          </a:r>
        </a:p>
      </dgm:t>
    </dgm:pt>
    <dgm:pt modelId="{049A1023-AA15-4CEC-A1E1-55090186F4D0}" type="parTrans" cxnId="{C0B8E589-1971-4530-B669-F5EC6EE3B783}">
      <dgm:prSet/>
      <dgm:spPr/>
      <dgm:t>
        <a:bodyPr/>
        <a:lstStyle/>
        <a:p>
          <a:endParaRPr lang="en-US"/>
        </a:p>
      </dgm:t>
    </dgm:pt>
    <dgm:pt modelId="{9755ACFC-2EEE-4B51-9165-D0FAE72ED384}" type="sibTrans" cxnId="{C0B8E589-1971-4530-B669-F5EC6EE3B783}">
      <dgm:prSet/>
      <dgm:spPr/>
      <dgm:t>
        <a:bodyPr/>
        <a:lstStyle/>
        <a:p>
          <a:endParaRPr lang="en-US"/>
        </a:p>
      </dgm:t>
    </dgm:pt>
    <dgm:pt modelId="{FE4B9B52-A70E-45FE-BFDA-17196B26E8EA}">
      <dgm:prSet phldrT="[Text]"/>
      <dgm:spPr/>
      <dgm:t>
        <a:bodyPr/>
        <a:lstStyle/>
        <a:p>
          <a:r>
            <a:rPr lang="en-US" dirty="0"/>
            <a:t>Enhancement of audit standards and audit engagement processes</a:t>
          </a:r>
        </a:p>
      </dgm:t>
    </dgm:pt>
    <dgm:pt modelId="{C9DC8718-4AC2-4C48-858D-2B43CBF00296}" type="parTrans" cxnId="{65745903-41A2-4DA0-8DAC-5534F3DEFFAA}">
      <dgm:prSet/>
      <dgm:spPr/>
      <dgm:t>
        <a:bodyPr/>
        <a:lstStyle/>
        <a:p>
          <a:endParaRPr lang="en-US"/>
        </a:p>
      </dgm:t>
    </dgm:pt>
    <dgm:pt modelId="{780BFF4C-7BBD-4BF7-A2D3-B704C5C1EC82}" type="sibTrans" cxnId="{65745903-41A2-4DA0-8DAC-5534F3DEFFAA}">
      <dgm:prSet/>
      <dgm:spPr/>
      <dgm:t>
        <a:bodyPr/>
        <a:lstStyle/>
        <a:p>
          <a:endParaRPr lang="en-US"/>
        </a:p>
      </dgm:t>
    </dgm:pt>
    <dgm:pt modelId="{C5ACE35A-0600-41B1-BC51-C51014E7C7D5}">
      <dgm:prSet phldrT="[Text]"/>
      <dgm:spPr/>
      <dgm:t>
        <a:bodyPr/>
        <a:lstStyle/>
        <a:p>
          <a:r>
            <a:rPr lang="en-US" dirty="0"/>
            <a:t>Successes and challenges -  (Small and developing SAIs)</a:t>
          </a:r>
        </a:p>
      </dgm:t>
    </dgm:pt>
    <dgm:pt modelId="{9FD294AC-EA13-4928-B25B-314B5BFFEAA9}" type="parTrans" cxnId="{264D5A20-BEE5-4F31-92FE-D5BB27175475}">
      <dgm:prSet/>
      <dgm:spPr/>
      <dgm:t>
        <a:bodyPr/>
        <a:lstStyle/>
        <a:p>
          <a:endParaRPr lang="en-US"/>
        </a:p>
      </dgm:t>
    </dgm:pt>
    <dgm:pt modelId="{7A1BA920-0BB5-4F44-8884-F23ABF210042}" type="sibTrans" cxnId="{264D5A20-BEE5-4F31-92FE-D5BB27175475}">
      <dgm:prSet/>
      <dgm:spPr/>
      <dgm:t>
        <a:bodyPr/>
        <a:lstStyle/>
        <a:p>
          <a:endParaRPr lang="en-US"/>
        </a:p>
      </dgm:t>
    </dgm:pt>
    <dgm:pt modelId="{DA97ED6C-F234-4CDC-82C2-2CD812551C0B}">
      <dgm:prSet phldrT="[Text]"/>
      <dgm:spPr>
        <a:solidFill>
          <a:schemeClr val="tx2">
            <a:lumMod val="60000"/>
            <a:lumOff val="40000"/>
          </a:schemeClr>
        </a:solidFill>
      </dgm:spPr>
      <dgm:t>
        <a:bodyPr/>
        <a:lstStyle/>
        <a:p>
          <a:r>
            <a:rPr lang="en-US" dirty="0"/>
            <a:t> SAIs with aspects of QM already in place</a:t>
          </a:r>
        </a:p>
      </dgm:t>
    </dgm:pt>
    <dgm:pt modelId="{44B0C388-9955-47CA-ABA0-DF26C4962D9E}" type="sibTrans" cxnId="{4348CA13-5184-430B-9B17-7384EC8A0872}">
      <dgm:prSet/>
      <dgm:spPr/>
      <dgm:t>
        <a:bodyPr/>
        <a:lstStyle/>
        <a:p>
          <a:endParaRPr lang="en-US"/>
        </a:p>
      </dgm:t>
    </dgm:pt>
    <dgm:pt modelId="{3691B4E1-E6EA-4599-AD95-C62AD85F0F56}" type="parTrans" cxnId="{4348CA13-5184-430B-9B17-7384EC8A0872}">
      <dgm:prSet/>
      <dgm:spPr/>
      <dgm:t>
        <a:bodyPr/>
        <a:lstStyle/>
        <a:p>
          <a:endParaRPr lang="en-US"/>
        </a:p>
      </dgm:t>
    </dgm:pt>
    <dgm:pt modelId="{AF981E22-28B3-435E-897B-CD1135D8878C}" type="pres">
      <dgm:prSet presAssocID="{C2EEEE0D-C2D3-4B80-A5C2-B44AC469A72E}" presName="Name0" presStyleCnt="0">
        <dgm:presLayoutVars>
          <dgm:chMax val="1"/>
          <dgm:chPref val="1"/>
          <dgm:dir/>
          <dgm:animOne val="branch"/>
          <dgm:animLvl val="lvl"/>
        </dgm:presLayoutVars>
      </dgm:prSet>
      <dgm:spPr/>
    </dgm:pt>
    <dgm:pt modelId="{F32D2EDE-CC81-450F-9FA8-FD976F125A20}" type="pres">
      <dgm:prSet presAssocID="{8FBD791E-2FC2-4C61-B245-518FBB974C23}" presName="Parent" presStyleLbl="node0" presStyleIdx="0" presStyleCnt="1">
        <dgm:presLayoutVars>
          <dgm:chMax val="6"/>
          <dgm:chPref val="6"/>
        </dgm:presLayoutVars>
      </dgm:prSet>
      <dgm:spPr/>
    </dgm:pt>
    <dgm:pt modelId="{84E6AA57-6C05-4AA8-A2E9-786791F5AAC8}" type="pres">
      <dgm:prSet presAssocID="{84BCF23B-E3C1-414B-9833-F99736B948B7}" presName="Accent1" presStyleCnt="0"/>
      <dgm:spPr/>
    </dgm:pt>
    <dgm:pt modelId="{90A5F799-41E4-4626-9A35-009D540A3257}" type="pres">
      <dgm:prSet presAssocID="{84BCF23B-E3C1-414B-9833-F99736B948B7}" presName="Accent" presStyleLbl="bgShp" presStyleIdx="0" presStyleCnt="6"/>
      <dgm:spPr/>
    </dgm:pt>
    <dgm:pt modelId="{C3049A74-A2A7-48FC-B306-E9C15242ACD0}" type="pres">
      <dgm:prSet presAssocID="{84BCF23B-E3C1-414B-9833-F99736B948B7}" presName="Child1" presStyleLbl="node1" presStyleIdx="0" presStyleCnt="6">
        <dgm:presLayoutVars>
          <dgm:chMax val="0"/>
          <dgm:chPref val="0"/>
          <dgm:bulletEnabled val="1"/>
        </dgm:presLayoutVars>
      </dgm:prSet>
      <dgm:spPr/>
    </dgm:pt>
    <dgm:pt modelId="{B61B6940-E136-49B5-B212-E82ACE97CD02}" type="pres">
      <dgm:prSet presAssocID="{5F17E2FD-C8A0-4055-AD41-F7659E127747}" presName="Accent2" presStyleCnt="0"/>
      <dgm:spPr/>
    </dgm:pt>
    <dgm:pt modelId="{B721D027-717A-40A9-BAA5-DADCB9B57342}" type="pres">
      <dgm:prSet presAssocID="{5F17E2FD-C8A0-4055-AD41-F7659E127747}" presName="Accent" presStyleLbl="bgShp" presStyleIdx="1" presStyleCnt="6"/>
      <dgm:spPr/>
    </dgm:pt>
    <dgm:pt modelId="{E8D37732-AEE8-46A5-9F00-998840F15308}" type="pres">
      <dgm:prSet presAssocID="{5F17E2FD-C8A0-4055-AD41-F7659E127747}" presName="Child2" presStyleLbl="node1" presStyleIdx="1" presStyleCnt="6">
        <dgm:presLayoutVars>
          <dgm:chMax val="0"/>
          <dgm:chPref val="0"/>
          <dgm:bulletEnabled val="1"/>
        </dgm:presLayoutVars>
      </dgm:prSet>
      <dgm:spPr/>
    </dgm:pt>
    <dgm:pt modelId="{B72BD766-A7BD-4FC0-A083-8CC6F3D202EC}" type="pres">
      <dgm:prSet presAssocID="{4732D342-B471-4ABE-9376-C8998C299DCD}" presName="Accent3" presStyleCnt="0"/>
      <dgm:spPr/>
    </dgm:pt>
    <dgm:pt modelId="{261EDFA4-6CDA-4344-9259-5DD634446AA1}" type="pres">
      <dgm:prSet presAssocID="{4732D342-B471-4ABE-9376-C8998C299DCD}" presName="Accent" presStyleLbl="bgShp" presStyleIdx="2" presStyleCnt="6"/>
      <dgm:spPr/>
    </dgm:pt>
    <dgm:pt modelId="{BBADEB52-4A3E-42EA-9868-E910F2286C30}" type="pres">
      <dgm:prSet presAssocID="{4732D342-B471-4ABE-9376-C8998C299DCD}" presName="Child3" presStyleLbl="node1" presStyleIdx="2" presStyleCnt="6">
        <dgm:presLayoutVars>
          <dgm:chMax val="0"/>
          <dgm:chPref val="0"/>
          <dgm:bulletEnabled val="1"/>
        </dgm:presLayoutVars>
      </dgm:prSet>
      <dgm:spPr/>
    </dgm:pt>
    <dgm:pt modelId="{4583B110-85BC-4777-B51E-4E562D6CE9A6}" type="pres">
      <dgm:prSet presAssocID="{FE4B9B52-A70E-45FE-BFDA-17196B26E8EA}" presName="Accent4" presStyleCnt="0"/>
      <dgm:spPr/>
    </dgm:pt>
    <dgm:pt modelId="{E83D7F50-2E69-43D9-A134-DFEB30E097E7}" type="pres">
      <dgm:prSet presAssocID="{FE4B9B52-A70E-45FE-BFDA-17196B26E8EA}" presName="Accent" presStyleLbl="bgShp" presStyleIdx="3" presStyleCnt="6"/>
      <dgm:spPr/>
    </dgm:pt>
    <dgm:pt modelId="{FE056B9B-EE4E-4A9B-A8FC-C8385F57CECB}" type="pres">
      <dgm:prSet presAssocID="{FE4B9B52-A70E-45FE-BFDA-17196B26E8EA}" presName="Child4" presStyleLbl="node1" presStyleIdx="3" presStyleCnt="6">
        <dgm:presLayoutVars>
          <dgm:chMax val="0"/>
          <dgm:chPref val="0"/>
          <dgm:bulletEnabled val="1"/>
        </dgm:presLayoutVars>
      </dgm:prSet>
      <dgm:spPr/>
    </dgm:pt>
    <dgm:pt modelId="{42A52753-EF05-455D-B184-27458F0D2EE6}" type="pres">
      <dgm:prSet presAssocID="{C5ACE35A-0600-41B1-BC51-C51014E7C7D5}" presName="Accent5" presStyleCnt="0"/>
      <dgm:spPr/>
    </dgm:pt>
    <dgm:pt modelId="{F324E384-F017-4C7B-8377-9901354DBFCF}" type="pres">
      <dgm:prSet presAssocID="{C5ACE35A-0600-41B1-BC51-C51014E7C7D5}" presName="Accent" presStyleLbl="bgShp" presStyleIdx="4" presStyleCnt="6"/>
      <dgm:spPr/>
    </dgm:pt>
    <dgm:pt modelId="{5B70EEF5-98E0-401B-B2C2-A789558E9998}" type="pres">
      <dgm:prSet presAssocID="{C5ACE35A-0600-41B1-BC51-C51014E7C7D5}" presName="Child5" presStyleLbl="node1" presStyleIdx="4" presStyleCnt="6">
        <dgm:presLayoutVars>
          <dgm:chMax val="0"/>
          <dgm:chPref val="0"/>
          <dgm:bulletEnabled val="1"/>
        </dgm:presLayoutVars>
      </dgm:prSet>
      <dgm:spPr/>
    </dgm:pt>
    <dgm:pt modelId="{2D6DDFB4-9DB4-49E1-9520-A27DA128CC0C}" type="pres">
      <dgm:prSet presAssocID="{DA97ED6C-F234-4CDC-82C2-2CD812551C0B}" presName="Accent6" presStyleCnt="0"/>
      <dgm:spPr/>
    </dgm:pt>
    <dgm:pt modelId="{77DC00E4-8F97-4823-ACF7-080EDB33BBA7}" type="pres">
      <dgm:prSet presAssocID="{DA97ED6C-F234-4CDC-82C2-2CD812551C0B}" presName="Accent" presStyleLbl="bgShp" presStyleIdx="5" presStyleCnt="6"/>
      <dgm:spPr/>
    </dgm:pt>
    <dgm:pt modelId="{E4946A4F-B569-416A-A3AB-442AC07B9275}" type="pres">
      <dgm:prSet presAssocID="{DA97ED6C-F234-4CDC-82C2-2CD812551C0B}" presName="Child6" presStyleLbl="node1" presStyleIdx="5" presStyleCnt="6">
        <dgm:presLayoutVars>
          <dgm:chMax val="0"/>
          <dgm:chPref val="0"/>
          <dgm:bulletEnabled val="1"/>
        </dgm:presLayoutVars>
      </dgm:prSet>
      <dgm:spPr/>
    </dgm:pt>
  </dgm:ptLst>
  <dgm:cxnLst>
    <dgm:cxn modelId="{65745903-41A2-4DA0-8DAC-5534F3DEFFAA}" srcId="{8FBD791E-2FC2-4C61-B245-518FBB974C23}" destId="{FE4B9B52-A70E-45FE-BFDA-17196B26E8EA}" srcOrd="3" destOrd="0" parTransId="{C9DC8718-4AC2-4C48-858D-2B43CBF00296}" sibTransId="{780BFF4C-7BBD-4BF7-A2D3-B704C5C1EC82}"/>
    <dgm:cxn modelId="{4348CA13-5184-430B-9B17-7384EC8A0872}" srcId="{8FBD791E-2FC2-4C61-B245-518FBB974C23}" destId="{DA97ED6C-F234-4CDC-82C2-2CD812551C0B}" srcOrd="5" destOrd="0" parTransId="{3691B4E1-E6EA-4599-AD95-C62AD85F0F56}" sibTransId="{44B0C388-9955-47CA-ABA0-DF26C4962D9E}"/>
    <dgm:cxn modelId="{264D5A20-BEE5-4F31-92FE-D5BB27175475}" srcId="{8FBD791E-2FC2-4C61-B245-518FBB974C23}" destId="{C5ACE35A-0600-41B1-BC51-C51014E7C7D5}" srcOrd="4" destOrd="0" parTransId="{9FD294AC-EA13-4928-B25B-314B5BFFEAA9}" sibTransId="{7A1BA920-0BB5-4F44-8884-F23ABF210042}"/>
    <dgm:cxn modelId="{762B4525-9B9A-45C1-A7BE-894821AD9E63}" type="presOf" srcId="{8FBD791E-2FC2-4C61-B245-518FBB974C23}" destId="{F32D2EDE-CC81-450F-9FA8-FD976F125A20}" srcOrd="0" destOrd="0" presId="urn:microsoft.com/office/officeart/2011/layout/HexagonRadial"/>
    <dgm:cxn modelId="{FBF36E2A-8D7E-44F8-AAA1-6C75AF2E53F9}" type="presOf" srcId="{5F17E2FD-C8A0-4055-AD41-F7659E127747}" destId="{E8D37732-AEE8-46A5-9F00-998840F15308}" srcOrd="0" destOrd="0" presId="urn:microsoft.com/office/officeart/2011/layout/HexagonRadial"/>
    <dgm:cxn modelId="{D598B72F-6EF1-4FA5-A6A4-76887342F45C}" type="presOf" srcId="{FE4B9B52-A70E-45FE-BFDA-17196B26E8EA}" destId="{FE056B9B-EE4E-4A9B-A8FC-C8385F57CECB}" srcOrd="0" destOrd="0" presId="urn:microsoft.com/office/officeart/2011/layout/HexagonRadial"/>
    <dgm:cxn modelId="{0A3BAE60-D5F2-4610-9F38-D06530CDB1E4}" type="presOf" srcId="{C2EEEE0D-C2D3-4B80-A5C2-B44AC469A72E}" destId="{AF981E22-28B3-435E-897B-CD1135D8878C}" srcOrd="0" destOrd="0" presId="urn:microsoft.com/office/officeart/2011/layout/HexagonRadial"/>
    <dgm:cxn modelId="{14172F47-BF93-45B6-AAAE-7ED00F02B5D8}" type="presOf" srcId="{C5ACE35A-0600-41B1-BC51-C51014E7C7D5}" destId="{5B70EEF5-98E0-401B-B2C2-A789558E9998}" srcOrd="0" destOrd="0" presId="urn:microsoft.com/office/officeart/2011/layout/HexagonRadial"/>
    <dgm:cxn modelId="{3B2A4969-C1C4-48B4-AEF1-DFCB291842FB}" srcId="{8FBD791E-2FC2-4C61-B245-518FBB974C23}" destId="{84BCF23B-E3C1-414B-9833-F99736B948B7}" srcOrd="0" destOrd="0" parTransId="{10FB6244-3FD6-4E9B-B777-EF413DBAF74B}" sibTransId="{44E02F95-8DED-4006-9748-1AB7AB5051F0}"/>
    <dgm:cxn modelId="{0A5E3C6E-B991-4C0C-80BE-9D760719A5A9}" type="presOf" srcId="{DA97ED6C-F234-4CDC-82C2-2CD812551C0B}" destId="{E4946A4F-B569-416A-A3AB-442AC07B9275}" srcOrd="0" destOrd="0" presId="urn:microsoft.com/office/officeart/2011/layout/HexagonRadial"/>
    <dgm:cxn modelId="{EC95E051-4CA6-43C5-8ECF-C4C401174736}" srcId="{C2EEEE0D-C2D3-4B80-A5C2-B44AC469A72E}" destId="{8FBD791E-2FC2-4C61-B245-518FBB974C23}" srcOrd="0" destOrd="0" parTransId="{09AC671A-8167-4316-9ABD-CE338187E699}" sibTransId="{4DCB2977-7857-4BC3-B711-F5E67258297F}"/>
    <dgm:cxn modelId="{C0B8E589-1971-4530-B669-F5EC6EE3B783}" srcId="{8FBD791E-2FC2-4C61-B245-518FBB974C23}" destId="{4732D342-B471-4ABE-9376-C8998C299DCD}" srcOrd="2" destOrd="0" parTransId="{049A1023-AA15-4CEC-A1E1-55090186F4D0}" sibTransId="{9755ACFC-2EEE-4B51-9165-D0FAE72ED384}"/>
    <dgm:cxn modelId="{1A9242E2-0659-4E68-8EB5-4091C28548E2}" srcId="{8FBD791E-2FC2-4C61-B245-518FBB974C23}" destId="{5F17E2FD-C8A0-4055-AD41-F7659E127747}" srcOrd="1" destOrd="0" parTransId="{A817BE82-CE4D-4A5D-8D0A-2F630D234884}" sibTransId="{4D847888-F7E4-49E6-A251-310E9E9AA5E0}"/>
    <dgm:cxn modelId="{9F73D7E8-5EB2-4755-83DD-1F6E73B22B3D}" type="presOf" srcId="{4732D342-B471-4ABE-9376-C8998C299DCD}" destId="{BBADEB52-4A3E-42EA-9868-E910F2286C30}" srcOrd="0" destOrd="0" presId="urn:microsoft.com/office/officeart/2011/layout/HexagonRadial"/>
    <dgm:cxn modelId="{38C554F9-8D66-44FE-B9FA-BBAB6F568880}" type="presOf" srcId="{84BCF23B-E3C1-414B-9833-F99736B948B7}" destId="{C3049A74-A2A7-48FC-B306-E9C15242ACD0}" srcOrd="0" destOrd="0" presId="urn:microsoft.com/office/officeart/2011/layout/HexagonRadial"/>
    <dgm:cxn modelId="{33A61389-5DD3-4A9F-941A-4819C8F2385F}" type="presParOf" srcId="{AF981E22-28B3-435E-897B-CD1135D8878C}" destId="{F32D2EDE-CC81-450F-9FA8-FD976F125A20}" srcOrd="0" destOrd="0" presId="urn:microsoft.com/office/officeart/2011/layout/HexagonRadial"/>
    <dgm:cxn modelId="{2228CC67-8706-49E1-A998-26DAC8B69319}" type="presParOf" srcId="{AF981E22-28B3-435E-897B-CD1135D8878C}" destId="{84E6AA57-6C05-4AA8-A2E9-786791F5AAC8}" srcOrd="1" destOrd="0" presId="urn:microsoft.com/office/officeart/2011/layout/HexagonRadial"/>
    <dgm:cxn modelId="{395E34DA-2D43-4D35-89E5-84932B1DFD21}" type="presParOf" srcId="{84E6AA57-6C05-4AA8-A2E9-786791F5AAC8}" destId="{90A5F799-41E4-4626-9A35-009D540A3257}" srcOrd="0" destOrd="0" presId="urn:microsoft.com/office/officeart/2011/layout/HexagonRadial"/>
    <dgm:cxn modelId="{17100918-F96C-47E4-AC2D-BF1A61181BEA}" type="presParOf" srcId="{AF981E22-28B3-435E-897B-CD1135D8878C}" destId="{C3049A74-A2A7-48FC-B306-E9C15242ACD0}" srcOrd="2" destOrd="0" presId="urn:microsoft.com/office/officeart/2011/layout/HexagonRadial"/>
    <dgm:cxn modelId="{F3240432-C00E-4B29-A4D3-FF5631B8712D}" type="presParOf" srcId="{AF981E22-28B3-435E-897B-CD1135D8878C}" destId="{B61B6940-E136-49B5-B212-E82ACE97CD02}" srcOrd="3" destOrd="0" presId="urn:microsoft.com/office/officeart/2011/layout/HexagonRadial"/>
    <dgm:cxn modelId="{1519B7AB-ACDF-4EEE-A4B1-BDE4D08AB222}" type="presParOf" srcId="{B61B6940-E136-49B5-B212-E82ACE97CD02}" destId="{B721D027-717A-40A9-BAA5-DADCB9B57342}" srcOrd="0" destOrd="0" presId="urn:microsoft.com/office/officeart/2011/layout/HexagonRadial"/>
    <dgm:cxn modelId="{75EC9FF1-AD60-4F0E-9AA8-C5D01305C2F4}" type="presParOf" srcId="{AF981E22-28B3-435E-897B-CD1135D8878C}" destId="{E8D37732-AEE8-46A5-9F00-998840F15308}" srcOrd="4" destOrd="0" presId="urn:microsoft.com/office/officeart/2011/layout/HexagonRadial"/>
    <dgm:cxn modelId="{1FCFCB2A-3A05-49A3-8B3C-56318F3767ED}" type="presParOf" srcId="{AF981E22-28B3-435E-897B-CD1135D8878C}" destId="{B72BD766-A7BD-4FC0-A083-8CC6F3D202EC}" srcOrd="5" destOrd="0" presId="urn:microsoft.com/office/officeart/2011/layout/HexagonRadial"/>
    <dgm:cxn modelId="{0D61C383-586D-44FC-A6DD-E40B1BB41CD4}" type="presParOf" srcId="{B72BD766-A7BD-4FC0-A083-8CC6F3D202EC}" destId="{261EDFA4-6CDA-4344-9259-5DD634446AA1}" srcOrd="0" destOrd="0" presId="urn:microsoft.com/office/officeart/2011/layout/HexagonRadial"/>
    <dgm:cxn modelId="{AFA7B768-9747-438F-B8F6-A06C294816A0}" type="presParOf" srcId="{AF981E22-28B3-435E-897B-CD1135D8878C}" destId="{BBADEB52-4A3E-42EA-9868-E910F2286C30}" srcOrd="6" destOrd="0" presId="urn:microsoft.com/office/officeart/2011/layout/HexagonRadial"/>
    <dgm:cxn modelId="{B1D8C10D-7D00-4AC5-9970-749617985B18}" type="presParOf" srcId="{AF981E22-28B3-435E-897B-CD1135D8878C}" destId="{4583B110-85BC-4777-B51E-4E562D6CE9A6}" srcOrd="7" destOrd="0" presId="urn:microsoft.com/office/officeart/2011/layout/HexagonRadial"/>
    <dgm:cxn modelId="{01AF09F7-6ABF-4975-BACD-CEABEE149C67}" type="presParOf" srcId="{4583B110-85BC-4777-B51E-4E562D6CE9A6}" destId="{E83D7F50-2E69-43D9-A134-DFEB30E097E7}" srcOrd="0" destOrd="0" presId="urn:microsoft.com/office/officeart/2011/layout/HexagonRadial"/>
    <dgm:cxn modelId="{5825B9B1-7C42-4136-9112-54B54973C663}" type="presParOf" srcId="{AF981E22-28B3-435E-897B-CD1135D8878C}" destId="{FE056B9B-EE4E-4A9B-A8FC-C8385F57CECB}" srcOrd="8" destOrd="0" presId="urn:microsoft.com/office/officeart/2011/layout/HexagonRadial"/>
    <dgm:cxn modelId="{601E625A-A7DE-4DA5-BA44-AAE3DAD606F6}" type="presParOf" srcId="{AF981E22-28B3-435E-897B-CD1135D8878C}" destId="{42A52753-EF05-455D-B184-27458F0D2EE6}" srcOrd="9" destOrd="0" presId="urn:microsoft.com/office/officeart/2011/layout/HexagonRadial"/>
    <dgm:cxn modelId="{787553E1-8884-4B9C-B536-576F4D492656}" type="presParOf" srcId="{42A52753-EF05-455D-B184-27458F0D2EE6}" destId="{F324E384-F017-4C7B-8377-9901354DBFCF}" srcOrd="0" destOrd="0" presId="urn:microsoft.com/office/officeart/2011/layout/HexagonRadial"/>
    <dgm:cxn modelId="{040AB710-7C64-48E0-8484-2CD9A82C18F6}" type="presParOf" srcId="{AF981E22-28B3-435E-897B-CD1135D8878C}" destId="{5B70EEF5-98E0-401B-B2C2-A789558E9998}" srcOrd="10" destOrd="0" presId="urn:microsoft.com/office/officeart/2011/layout/HexagonRadial"/>
    <dgm:cxn modelId="{D601FC49-5893-4423-8EDC-9E322864B453}" type="presParOf" srcId="{AF981E22-28B3-435E-897B-CD1135D8878C}" destId="{2D6DDFB4-9DB4-49E1-9520-A27DA128CC0C}" srcOrd="11" destOrd="0" presId="urn:microsoft.com/office/officeart/2011/layout/HexagonRadial"/>
    <dgm:cxn modelId="{537E4E8E-05CA-4B97-B972-C261BDE095C9}" type="presParOf" srcId="{2D6DDFB4-9DB4-49E1-9520-A27DA128CC0C}" destId="{77DC00E4-8F97-4823-ACF7-080EDB33BBA7}" srcOrd="0" destOrd="0" presId="urn:microsoft.com/office/officeart/2011/layout/HexagonRadial"/>
    <dgm:cxn modelId="{485B965C-F5A0-4DCC-A7EC-E68365CDF96C}" type="presParOf" srcId="{AF981E22-28B3-435E-897B-CD1135D8878C}" destId="{E4946A4F-B569-416A-A3AB-442AC07B9275}" srcOrd="12" destOrd="0" presId="urn:microsoft.com/office/officeart/2011/layout/HexagonRadial"/>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980374F-9515-45D6-810A-E55C236EB149}"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E68B0A90-BD88-4AC2-8E79-0CF2C2EACB06}">
      <dgm:prSet phldrT="[Text]" custT="1"/>
      <dgm:spPr/>
      <dgm:t>
        <a:bodyPr/>
        <a:lstStyle/>
        <a:p>
          <a:r>
            <a:rPr lang="en-US" sz="2300" dirty="0"/>
            <a:t>Multi-disciplinary teams </a:t>
          </a:r>
          <a:r>
            <a:rPr lang="en-US" sz="1400" dirty="0"/>
            <a:t>(IT, forensic, tax, legal)</a:t>
          </a:r>
          <a:endParaRPr lang="en-US" sz="2900" dirty="0"/>
        </a:p>
      </dgm:t>
    </dgm:pt>
    <dgm:pt modelId="{FB2D05E5-4724-4D7E-963C-8E95926BB1E9}" type="parTrans" cxnId="{8D46A70C-BF7D-4ABE-A8DF-CE4533B0226C}">
      <dgm:prSet/>
      <dgm:spPr/>
      <dgm:t>
        <a:bodyPr/>
        <a:lstStyle/>
        <a:p>
          <a:endParaRPr lang="en-US"/>
        </a:p>
      </dgm:t>
    </dgm:pt>
    <dgm:pt modelId="{89D5BBBA-4E13-4A3E-A976-6AECB4B9CBE8}" type="sibTrans" cxnId="{8D46A70C-BF7D-4ABE-A8DF-CE4533B0226C}">
      <dgm:prSet/>
      <dgm:spPr/>
      <dgm:t>
        <a:bodyPr/>
        <a:lstStyle/>
        <a:p>
          <a:endParaRPr lang="en-US"/>
        </a:p>
      </dgm:t>
    </dgm:pt>
    <dgm:pt modelId="{FEC9815E-301D-4D8D-A85C-43448ECB1A9B}">
      <dgm:prSet phldrT="[Text]"/>
      <dgm:spPr/>
      <dgm:t>
        <a:bodyPr/>
        <a:lstStyle/>
        <a:p>
          <a:r>
            <a:rPr lang="en-US" dirty="0"/>
            <a:t>Standards and regulatory bodies</a:t>
          </a:r>
        </a:p>
      </dgm:t>
    </dgm:pt>
    <dgm:pt modelId="{AFAEC8D9-B9B6-401E-AB0B-6C3E6A87635D}" type="parTrans" cxnId="{7F8909A8-3B07-4541-BD85-4AE7B514AA56}">
      <dgm:prSet/>
      <dgm:spPr/>
      <dgm:t>
        <a:bodyPr/>
        <a:lstStyle/>
        <a:p>
          <a:endParaRPr lang="en-US"/>
        </a:p>
      </dgm:t>
    </dgm:pt>
    <dgm:pt modelId="{60EEB178-DFBC-4757-B0B7-7E2DC7FFECA1}" type="sibTrans" cxnId="{7F8909A8-3B07-4541-BD85-4AE7B514AA56}">
      <dgm:prSet/>
      <dgm:spPr/>
      <dgm:t>
        <a:bodyPr/>
        <a:lstStyle/>
        <a:p>
          <a:endParaRPr lang="en-US"/>
        </a:p>
      </dgm:t>
    </dgm:pt>
    <dgm:pt modelId="{3D472224-4AF0-4407-B3C8-68B605100FFC}">
      <dgm:prSet phldrT="[Text]"/>
      <dgm:spPr/>
      <dgm:t>
        <a:bodyPr/>
        <a:lstStyle/>
        <a:p>
          <a:r>
            <a:rPr lang="en-US" dirty="0"/>
            <a:t>Academic institutions</a:t>
          </a:r>
        </a:p>
      </dgm:t>
    </dgm:pt>
    <dgm:pt modelId="{D2BB1C76-E72D-423D-89A0-33E2B7944218}" type="parTrans" cxnId="{3361C193-EAA8-495A-88B4-1CF813CAB2A3}">
      <dgm:prSet/>
      <dgm:spPr/>
      <dgm:t>
        <a:bodyPr/>
        <a:lstStyle/>
        <a:p>
          <a:endParaRPr lang="en-US"/>
        </a:p>
      </dgm:t>
    </dgm:pt>
    <dgm:pt modelId="{8B05CA6F-050D-4895-875C-758500CADE16}" type="sibTrans" cxnId="{3361C193-EAA8-495A-88B4-1CF813CAB2A3}">
      <dgm:prSet/>
      <dgm:spPr/>
      <dgm:t>
        <a:bodyPr/>
        <a:lstStyle/>
        <a:p>
          <a:endParaRPr lang="en-US"/>
        </a:p>
      </dgm:t>
    </dgm:pt>
    <dgm:pt modelId="{CFDEEDA7-A0E9-4974-8A21-447E395BF2F2}">
      <dgm:prSet phldrT="[Text]"/>
      <dgm:spPr/>
      <dgm:t>
        <a:bodyPr/>
        <a:lstStyle/>
        <a:p>
          <a:r>
            <a:rPr lang="en-US" dirty="0"/>
            <a:t>Collaboration with business</a:t>
          </a:r>
        </a:p>
      </dgm:t>
    </dgm:pt>
    <dgm:pt modelId="{70BFE5A4-4F60-46CD-91D0-B64DA9998049}" type="parTrans" cxnId="{EE1805C0-0084-472B-B38B-9694F5CE9DBE}">
      <dgm:prSet/>
      <dgm:spPr/>
      <dgm:t>
        <a:bodyPr/>
        <a:lstStyle/>
        <a:p>
          <a:endParaRPr lang="en-US"/>
        </a:p>
      </dgm:t>
    </dgm:pt>
    <dgm:pt modelId="{4D0B1FD9-5CA1-457E-94BD-C1374CCB3567}" type="sibTrans" cxnId="{EE1805C0-0084-472B-B38B-9694F5CE9DBE}">
      <dgm:prSet/>
      <dgm:spPr/>
      <dgm:t>
        <a:bodyPr/>
        <a:lstStyle/>
        <a:p>
          <a:endParaRPr lang="en-US"/>
        </a:p>
      </dgm:t>
    </dgm:pt>
    <dgm:pt modelId="{74FEBC70-7F92-4EB6-AF5C-4617A03B90B6}">
      <dgm:prSet phldrT="[Text]"/>
      <dgm:spPr/>
      <dgm:t>
        <a:bodyPr/>
        <a:lstStyle/>
        <a:p>
          <a:r>
            <a:rPr lang="en-US" dirty="0"/>
            <a:t>Investment in young professionals</a:t>
          </a:r>
        </a:p>
      </dgm:t>
    </dgm:pt>
    <dgm:pt modelId="{A2002226-958A-4389-A085-2A58966AD5DE}" type="parTrans" cxnId="{12173FAB-B6AB-4E26-9AA8-DC4234B63A69}">
      <dgm:prSet/>
      <dgm:spPr/>
      <dgm:t>
        <a:bodyPr/>
        <a:lstStyle/>
        <a:p>
          <a:endParaRPr lang="en-US"/>
        </a:p>
      </dgm:t>
    </dgm:pt>
    <dgm:pt modelId="{BF143907-93DD-4A6B-98AA-DAAB4E4AA2DA}" type="sibTrans" cxnId="{12173FAB-B6AB-4E26-9AA8-DC4234B63A69}">
      <dgm:prSet/>
      <dgm:spPr/>
      <dgm:t>
        <a:bodyPr/>
        <a:lstStyle/>
        <a:p>
          <a:endParaRPr lang="en-US"/>
        </a:p>
      </dgm:t>
    </dgm:pt>
    <dgm:pt modelId="{96CF965F-A848-4DAF-861F-B4E2127F4C0F}">
      <dgm:prSet phldrT="[Text]"/>
      <dgm:spPr/>
      <dgm:t>
        <a:bodyPr/>
        <a:lstStyle/>
        <a:p>
          <a:r>
            <a:rPr lang="en-US" dirty="0"/>
            <a:t>Automation and technology</a:t>
          </a:r>
        </a:p>
      </dgm:t>
    </dgm:pt>
    <dgm:pt modelId="{73130744-4F87-48C1-AF25-30A6268A98B8}" type="parTrans" cxnId="{3664D81E-E821-4546-BECB-ACA313A01286}">
      <dgm:prSet/>
      <dgm:spPr/>
      <dgm:t>
        <a:bodyPr/>
        <a:lstStyle/>
        <a:p>
          <a:endParaRPr lang="en-US"/>
        </a:p>
      </dgm:t>
    </dgm:pt>
    <dgm:pt modelId="{75154E15-03CC-4685-93BC-F3945F28CE20}" type="sibTrans" cxnId="{3664D81E-E821-4546-BECB-ACA313A01286}">
      <dgm:prSet/>
      <dgm:spPr/>
      <dgm:t>
        <a:bodyPr/>
        <a:lstStyle/>
        <a:p>
          <a:endParaRPr lang="en-US"/>
        </a:p>
      </dgm:t>
    </dgm:pt>
    <dgm:pt modelId="{FDCBE026-0316-4A80-B120-6EB0AB141686}" type="pres">
      <dgm:prSet presAssocID="{C980374F-9515-45D6-810A-E55C236EB149}" presName="Name0" presStyleCnt="0">
        <dgm:presLayoutVars>
          <dgm:chMax val="7"/>
          <dgm:chPref val="7"/>
          <dgm:dir/>
        </dgm:presLayoutVars>
      </dgm:prSet>
      <dgm:spPr/>
    </dgm:pt>
    <dgm:pt modelId="{45027294-ED83-497B-BBA5-0B031C832587}" type="pres">
      <dgm:prSet presAssocID="{C980374F-9515-45D6-810A-E55C236EB149}" presName="Name1" presStyleCnt="0"/>
      <dgm:spPr/>
    </dgm:pt>
    <dgm:pt modelId="{A64AD904-AED3-4252-B8FC-6FFE709BBC55}" type="pres">
      <dgm:prSet presAssocID="{C980374F-9515-45D6-810A-E55C236EB149}" presName="cycle" presStyleCnt="0"/>
      <dgm:spPr/>
    </dgm:pt>
    <dgm:pt modelId="{F89CC32B-4590-4B38-91E8-81826E9223F5}" type="pres">
      <dgm:prSet presAssocID="{C980374F-9515-45D6-810A-E55C236EB149}" presName="srcNode" presStyleLbl="node1" presStyleIdx="0" presStyleCnt="6"/>
      <dgm:spPr/>
    </dgm:pt>
    <dgm:pt modelId="{C8363E60-AA91-4D14-85D0-4210B1C356BE}" type="pres">
      <dgm:prSet presAssocID="{C980374F-9515-45D6-810A-E55C236EB149}" presName="conn" presStyleLbl="parChTrans1D2" presStyleIdx="0" presStyleCnt="1"/>
      <dgm:spPr/>
    </dgm:pt>
    <dgm:pt modelId="{F3C9050B-06ED-4274-94CF-ED7C9AE915E0}" type="pres">
      <dgm:prSet presAssocID="{C980374F-9515-45D6-810A-E55C236EB149}" presName="extraNode" presStyleLbl="node1" presStyleIdx="0" presStyleCnt="6"/>
      <dgm:spPr/>
    </dgm:pt>
    <dgm:pt modelId="{27F15250-63B7-44B2-A970-5C2C8F839DEA}" type="pres">
      <dgm:prSet presAssocID="{C980374F-9515-45D6-810A-E55C236EB149}" presName="dstNode" presStyleLbl="node1" presStyleIdx="0" presStyleCnt="6"/>
      <dgm:spPr/>
    </dgm:pt>
    <dgm:pt modelId="{53A85C2A-55FA-44C0-8376-3ABC6E1709F4}" type="pres">
      <dgm:prSet presAssocID="{E68B0A90-BD88-4AC2-8E79-0CF2C2EACB06}" presName="text_1" presStyleLbl="node1" presStyleIdx="0" presStyleCnt="6">
        <dgm:presLayoutVars>
          <dgm:bulletEnabled val="1"/>
        </dgm:presLayoutVars>
      </dgm:prSet>
      <dgm:spPr/>
    </dgm:pt>
    <dgm:pt modelId="{FCD5D7E1-C899-45FA-966C-CF3B84BF8392}" type="pres">
      <dgm:prSet presAssocID="{E68B0A90-BD88-4AC2-8E79-0CF2C2EACB06}" presName="accent_1" presStyleCnt="0"/>
      <dgm:spPr/>
    </dgm:pt>
    <dgm:pt modelId="{1594B239-7055-4FA3-B347-F3944473404B}" type="pres">
      <dgm:prSet presAssocID="{E68B0A90-BD88-4AC2-8E79-0CF2C2EACB06}" presName="accentRepeatNode" presStyleLbl="solidFgAcc1" presStyleIdx="0" presStyleCnt="6"/>
      <dgm:spPr/>
    </dgm:pt>
    <dgm:pt modelId="{1C7FF85B-55BD-4475-B349-96884B9FDD32}" type="pres">
      <dgm:prSet presAssocID="{FEC9815E-301D-4D8D-A85C-43448ECB1A9B}" presName="text_2" presStyleLbl="node1" presStyleIdx="1" presStyleCnt="6">
        <dgm:presLayoutVars>
          <dgm:bulletEnabled val="1"/>
        </dgm:presLayoutVars>
      </dgm:prSet>
      <dgm:spPr/>
    </dgm:pt>
    <dgm:pt modelId="{7B8703BE-DB18-4E35-9F70-CD0BE164CB95}" type="pres">
      <dgm:prSet presAssocID="{FEC9815E-301D-4D8D-A85C-43448ECB1A9B}" presName="accent_2" presStyleCnt="0"/>
      <dgm:spPr/>
    </dgm:pt>
    <dgm:pt modelId="{13F0E819-E73D-495F-9D49-CF2B87D2EAF4}" type="pres">
      <dgm:prSet presAssocID="{FEC9815E-301D-4D8D-A85C-43448ECB1A9B}" presName="accentRepeatNode" presStyleLbl="solidFgAcc1" presStyleIdx="1" presStyleCnt="6"/>
      <dgm:spPr/>
    </dgm:pt>
    <dgm:pt modelId="{BBFDFC0F-139A-41A1-B9FC-954130658D0B}" type="pres">
      <dgm:prSet presAssocID="{3D472224-4AF0-4407-B3C8-68B605100FFC}" presName="text_3" presStyleLbl="node1" presStyleIdx="2" presStyleCnt="6">
        <dgm:presLayoutVars>
          <dgm:bulletEnabled val="1"/>
        </dgm:presLayoutVars>
      </dgm:prSet>
      <dgm:spPr/>
    </dgm:pt>
    <dgm:pt modelId="{E404CB16-D8AC-4F1E-ACCE-EC27C3D782EF}" type="pres">
      <dgm:prSet presAssocID="{3D472224-4AF0-4407-B3C8-68B605100FFC}" presName="accent_3" presStyleCnt="0"/>
      <dgm:spPr/>
    </dgm:pt>
    <dgm:pt modelId="{32D10238-4BA6-413C-9C76-8B2D5E874B2D}" type="pres">
      <dgm:prSet presAssocID="{3D472224-4AF0-4407-B3C8-68B605100FFC}" presName="accentRepeatNode" presStyleLbl="solidFgAcc1" presStyleIdx="2" presStyleCnt="6"/>
      <dgm:spPr/>
    </dgm:pt>
    <dgm:pt modelId="{607963EF-C4F4-4573-BD30-3E9F72AEA35B}" type="pres">
      <dgm:prSet presAssocID="{CFDEEDA7-A0E9-4974-8A21-447E395BF2F2}" presName="text_4" presStyleLbl="node1" presStyleIdx="3" presStyleCnt="6">
        <dgm:presLayoutVars>
          <dgm:bulletEnabled val="1"/>
        </dgm:presLayoutVars>
      </dgm:prSet>
      <dgm:spPr/>
    </dgm:pt>
    <dgm:pt modelId="{E271A5FE-D6F2-4B1B-AB89-4D4A5DF81A98}" type="pres">
      <dgm:prSet presAssocID="{CFDEEDA7-A0E9-4974-8A21-447E395BF2F2}" presName="accent_4" presStyleCnt="0"/>
      <dgm:spPr/>
    </dgm:pt>
    <dgm:pt modelId="{A8717577-1013-443F-8F84-057EC3F292BD}" type="pres">
      <dgm:prSet presAssocID="{CFDEEDA7-A0E9-4974-8A21-447E395BF2F2}" presName="accentRepeatNode" presStyleLbl="solidFgAcc1" presStyleIdx="3" presStyleCnt="6"/>
      <dgm:spPr/>
    </dgm:pt>
    <dgm:pt modelId="{27330BD2-B598-48F6-A120-3583F6B24BD6}" type="pres">
      <dgm:prSet presAssocID="{74FEBC70-7F92-4EB6-AF5C-4617A03B90B6}" presName="text_5" presStyleLbl="node1" presStyleIdx="4" presStyleCnt="6">
        <dgm:presLayoutVars>
          <dgm:bulletEnabled val="1"/>
        </dgm:presLayoutVars>
      </dgm:prSet>
      <dgm:spPr/>
    </dgm:pt>
    <dgm:pt modelId="{D40A8F64-CFAB-4FC8-8ABE-732D0BC53015}" type="pres">
      <dgm:prSet presAssocID="{74FEBC70-7F92-4EB6-AF5C-4617A03B90B6}" presName="accent_5" presStyleCnt="0"/>
      <dgm:spPr/>
    </dgm:pt>
    <dgm:pt modelId="{F186B36C-C7D6-46AB-8360-2298845566C3}" type="pres">
      <dgm:prSet presAssocID="{74FEBC70-7F92-4EB6-AF5C-4617A03B90B6}" presName="accentRepeatNode" presStyleLbl="solidFgAcc1" presStyleIdx="4" presStyleCnt="6"/>
      <dgm:spPr/>
    </dgm:pt>
    <dgm:pt modelId="{954D69F1-2B1A-415B-AA4B-C75309AD21B3}" type="pres">
      <dgm:prSet presAssocID="{96CF965F-A848-4DAF-861F-B4E2127F4C0F}" presName="text_6" presStyleLbl="node1" presStyleIdx="5" presStyleCnt="6">
        <dgm:presLayoutVars>
          <dgm:bulletEnabled val="1"/>
        </dgm:presLayoutVars>
      </dgm:prSet>
      <dgm:spPr/>
    </dgm:pt>
    <dgm:pt modelId="{77674F4A-4216-4DBF-BE63-DF27CB0F1F9C}" type="pres">
      <dgm:prSet presAssocID="{96CF965F-A848-4DAF-861F-B4E2127F4C0F}" presName="accent_6" presStyleCnt="0"/>
      <dgm:spPr/>
    </dgm:pt>
    <dgm:pt modelId="{A6047C3A-6AE2-4A48-A5A6-BB2B29AA193F}" type="pres">
      <dgm:prSet presAssocID="{96CF965F-A848-4DAF-861F-B4E2127F4C0F}" presName="accentRepeatNode" presStyleLbl="solidFgAcc1" presStyleIdx="5" presStyleCnt="6"/>
      <dgm:spPr/>
    </dgm:pt>
  </dgm:ptLst>
  <dgm:cxnLst>
    <dgm:cxn modelId="{8D46A70C-BF7D-4ABE-A8DF-CE4533B0226C}" srcId="{C980374F-9515-45D6-810A-E55C236EB149}" destId="{E68B0A90-BD88-4AC2-8E79-0CF2C2EACB06}" srcOrd="0" destOrd="0" parTransId="{FB2D05E5-4724-4D7E-963C-8E95926BB1E9}" sibTransId="{89D5BBBA-4E13-4A3E-A976-6AECB4B9CBE8}"/>
    <dgm:cxn modelId="{3664D81E-E821-4546-BECB-ACA313A01286}" srcId="{C980374F-9515-45D6-810A-E55C236EB149}" destId="{96CF965F-A848-4DAF-861F-B4E2127F4C0F}" srcOrd="5" destOrd="0" parTransId="{73130744-4F87-48C1-AF25-30A6268A98B8}" sibTransId="{75154E15-03CC-4685-93BC-F3945F28CE20}"/>
    <dgm:cxn modelId="{A86E3C5F-B25F-422D-B385-01E8AEA0F5A6}" type="presOf" srcId="{74FEBC70-7F92-4EB6-AF5C-4617A03B90B6}" destId="{27330BD2-B598-48F6-A120-3583F6B24BD6}" srcOrd="0" destOrd="0" presId="urn:microsoft.com/office/officeart/2008/layout/VerticalCurvedList"/>
    <dgm:cxn modelId="{DB337E43-3885-44D7-95CD-9DE6F17AC44D}" type="presOf" srcId="{E68B0A90-BD88-4AC2-8E79-0CF2C2EACB06}" destId="{53A85C2A-55FA-44C0-8376-3ABC6E1709F4}" srcOrd="0" destOrd="0" presId="urn:microsoft.com/office/officeart/2008/layout/VerticalCurvedList"/>
    <dgm:cxn modelId="{0955697C-6212-4C3F-9B80-176629A7A9B7}" type="presOf" srcId="{3D472224-4AF0-4407-B3C8-68B605100FFC}" destId="{BBFDFC0F-139A-41A1-B9FC-954130658D0B}" srcOrd="0" destOrd="0" presId="urn:microsoft.com/office/officeart/2008/layout/VerticalCurvedList"/>
    <dgm:cxn modelId="{73782587-A556-46E6-8D47-22ADEF9D2122}" type="presOf" srcId="{89D5BBBA-4E13-4A3E-A976-6AECB4B9CBE8}" destId="{C8363E60-AA91-4D14-85D0-4210B1C356BE}" srcOrd="0" destOrd="0" presId="urn:microsoft.com/office/officeart/2008/layout/VerticalCurvedList"/>
    <dgm:cxn modelId="{3361C193-EAA8-495A-88B4-1CF813CAB2A3}" srcId="{C980374F-9515-45D6-810A-E55C236EB149}" destId="{3D472224-4AF0-4407-B3C8-68B605100FFC}" srcOrd="2" destOrd="0" parTransId="{D2BB1C76-E72D-423D-89A0-33E2B7944218}" sibTransId="{8B05CA6F-050D-4895-875C-758500CADE16}"/>
    <dgm:cxn modelId="{01F991A1-1013-4245-9148-ADDE2778478C}" type="presOf" srcId="{FEC9815E-301D-4D8D-A85C-43448ECB1A9B}" destId="{1C7FF85B-55BD-4475-B349-96884B9FDD32}" srcOrd="0" destOrd="0" presId="urn:microsoft.com/office/officeart/2008/layout/VerticalCurvedList"/>
    <dgm:cxn modelId="{7F8909A8-3B07-4541-BD85-4AE7B514AA56}" srcId="{C980374F-9515-45D6-810A-E55C236EB149}" destId="{FEC9815E-301D-4D8D-A85C-43448ECB1A9B}" srcOrd="1" destOrd="0" parTransId="{AFAEC8D9-B9B6-401E-AB0B-6C3E6A87635D}" sibTransId="{60EEB178-DFBC-4757-B0B7-7E2DC7FFECA1}"/>
    <dgm:cxn modelId="{12173FAB-B6AB-4E26-9AA8-DC4234B63A69}" srcId="{C980374F-9515-45D6-810A-E55C236EB149}" destId="{74FEBC70-7F92-4EB6-AF5C-4617A03B90B6}" srcOrd="4" destOrd="0" parTransId="{A2002226-958A-4389-A085-2A58966AD5DE}" sibTransId="{BF143907-93DD-4A6B-98AA-DAAB4E4AA2DA}"/>
    <dgm:cxn modelId="{EE1805C0-0084-472B-B38B-9694F5CE9DBE}" srcId="{C980374F-9515-45D6-810A-E55C236EB149}" destId="{CFDEEDA7-A0E9-4974-8A21-447E395BF2F2}" srcOrd="3" destOrd="0" parTransId="{70BFE5A4-4F60-46CD-91D0-B64DA9998049}" sibTransId="{4D0B1FD9-5CA1-457E-94BD-C1374CCB3567}"/>
    <dgm:cxn modelId="{91E324D6-F5B4-4EFF-A5D6-44169A8A9C7D}" type="presOf" srcId="{96CF965F-A848-4DAF-861F-B4E2127F4C0F}" destId="{954D69F1-2B1A-415B-AA4B-C75309AD21B3}" srcOrd="0" destOrd="0" presId="urn:microsoft.com/office/officeart/2008/layout/VerticalCurvedList"/>
    <dgm:cxn modelId="{192CAED8-4638-47DD-9B9C-4F467F2DB0CB}" type="presOf" srcId="{CFDEEDA7-A0E9-4974-8A21-447E395BF2F2}" destId="{607963EF-C4F4-4573-BD30-3E9F72AEA35B}" srcOrd="0" destOrd="0" presId="urn:microsoft.com/office/officeart/2008/layout/VerticalCurvedList"/>
    <dgm:cxn modelId="{9E1B9DE7-FA2E-4181-BDC0-84A13C849FAF}" type="presOf" srcId="{C980374F-9515-45D6-810A-E55C236EB149}" destId="{FDCBE026-0316-4A80-B120-6EB0AB141686}" srcOrd="0" destOrd="0" presId="urn:microsoft.com/office/officeart/2008/layout/VerticalCurvedList"/>
    <dgm:cxn modelId="{0A65D5A9-5DC1-4BEF-8706-9CAFE2E285E8}" type="presParOf" srcId="{FDCBE026-0316-4A80-B120-6EB0AB141686}" destId="{45027294-ED83-497B-BBA5-0B031C832587}" srcOrd="0" destOrd="0" presId="urn:microsoft.com/office/officeart/2008/layout/VerticalCurvedList"/>
    <dgm:cxn modelId="{5BADDD92-F389-4584-B412-40A2B8EB0986}" type="presParOf" srcId="{45027294-ED83-497B-BBA5-0B031C832587}" destId="{A64AD904-AED3-4252-B8FC-6FFE709BBC55}" srcOrd="0" destOrd="0" presId="urn:microsoft.com/office/officeart/2008/layout/VerticalCurvedList"/>
    <dgm:cxn modelId="{1863B42F-329E-4755-A6D2-FCBE01B0340F}" type="presParOf" srcId="{A64AD904-AED3-4252-B8FC-6FFE709BBC55}" destId="{F89CC32B-4590-4B38-91E8-81826E9223F5}" srcOrd="0" destOrd="0" presId="urn:microsoft.com/office/officeart/2008/layout/VerticalCurvedList"/>
    <dgm:cxn modelId="{88000336-B419-472B-828C-433F193E5568}" type="presParOf" srcId="{A64AD904-AED3-4252-B8FC-6FFE709BBC55}" destId="{C8363E60-AA91-4D14-85D0-4210B1C356BE}" srcOrd="1" destOrd="0" presId="urn:microsoft.com/office/officeart/2008/layout/VerticalCurvedList"/>
    <dgm:cxn modelId="{DAEBB9D3-E35F-4ACA-BF66-57510CD4D486}" type="presParOf" srcId="{A64AD904-AED3-4252-B8FC-6FFE709BBC55}" destId="{F3C9050B-06ED-4274-94CF-ED7C9AE915E0}" srcOrd="2" destOrd="0" presId="urn:microsoft.com/office/officeart/2008/layout/VerticalCurvedList"/>
    <dgm:cxn modelId="{441E94E0-9230-483A-912C-82451DCBCA23}" type="presParOf" srcId="{A64AD904-AED3-4252-B8FC-6FFE709BBC55}" destId="{27F15250-63B7-44B2-A970-5C2C8F839DEA}" srcOrd="3" destOrd="0" presId="urn:microsoft.com/office/officeart/2008/layout/VerticalCurvedList"/>
    <dgm:cxn modelId="{3FC4D82E-412A-41B9-92B0-DE0D64FA7279}" type="presParOf" srcId="{45027294-ED83-497B-BBA5-0B031C832587}" destId="{53A85C2A-55FA-44C0-8376-3ABC6E1709F4}" srcOrd="1" destOrd="0" presId="urn:microsoft.com/office/officeart/2008/layout/VerticalCurvedList"/>
    <dgm:cxn modelId="{4A46A879-9D00-493B-BC3D-EF50BEB5D9D2}" type="presParOf" srcId="{45027294-ED83-497B-BBA5-0B031C832587}" destId="{FCD5D7E1-C899-45FA-966C-CF3B84BF8392}" srcOrd="2" destOrd="0" presId="urn:microsoft.com/office/officeart/2008/layout/VerticalCurvedList"/>
    <dgm:cxn modelId="{15D18745-8878-4106-9909-823B06C3B3C8}" type="presParOf" srcId="{FCD5D7E1-C899-45FA-966C-CF3B84BF8392}" destId="{1594B239-7055-4FA3-B347-F3944473404B}" srcOrd="0" destOrd="0" presId="urn:microsoft.com/office/officeart/2008/layout/VerticalCurvedList"/>
    <dgm:cxn modelId="{19347685-BEB0-4E0C-B6D8-9FD21DD3BFC0}" type="presParOf" srcId="{45027294-ED83-497B-BBA5-0B031C832587}" destId="{1C7FF85B-55BD-4475-B349-96884B9FDD32}" srcOrd="3" destOrd="0" presId="urn:microsoft.com/office/officeart/2008/layout/VerticalCurvedList"/>
    <dgm:cxn modelId="{E6AE3EF7-086F-43CA-9E5F-3C2AD8BD18C7}" type="presParOf" srcId="{45027294-ED83-497B-BBA5-0B031C832587}" destId="{7B8703BE-DB18-4E35-9F70-CD0BE164CB95}" srcOrd="4" destOrd="0" presId="urn:microsoft.com/office/officeart/2008/layout/VerticalCurvedList"/>
    <dgm:cxn modelId="{3E14125E-CB86-44BD-8F8E-208908E9CE45}" type="presParOf" srcId="{7B8703BE-DB18-4E35-9F70-CD0BE164CB95}" destId="{13F0E819-E73D-495F-9D49-CF2B87D2EAF4}" srcOrd="0" destOrd="0" presId="urn:microsoft.com/office/officeart/2008/layout/VerticalCurvedList"/>
    <dgm:cxn modelId="{B7EB171C-04E9-4B6C-8DD6-9785AAE1FA17}" type="presParOf" srcId="{45027294-ED83-497B-BBA5-0B031C832587}" destId="{BBFDFC0F-139A-41A1-B9FC-954130658D0B}" srcOrd="5" destOrd="0" presId="urn:microsoft.com/office/officeart/2008/layout/VerticalCurvedList"/>
    <dgm:cxn modelId="{718C3A95-4912-4423-AA70-F58060EF7E5B}" type="presParOf" srcId="{45027294-ED83-497B-BBA5-0B031C832587}" destId="{E404CB16-D8AC-4F1E-ACCE-EC27C3D782EF}" srcOrd="6" destOrd="0" presId="urn:microsoft.com/office/officeart/2008/layout/VerticalCurvedList"/>
    <dgm:cxn modelId="{ABD4F387-5936-41B1-966B-76CB0791C874}" type="presParOf" srcId="{E404CB16-D8AC-4F1E-ACCE-EC27C3D782EF}" destId="{32D10238-4BA6-413C-9C76-8B2D5E874B2D}" srcOrd="0" destOrd="0" presId="urn:microsoft.com/office/officeart/2008/layout/VerticalCurvedList"/>
    <dgm:cxn modelId="{01E4E368-3A82-4433-AA32-C3A2676042C5}" type="presParOf" srcId="{45027294-ED83-497B-BBA5-0B031C832587}" destId="{607963EF-C4F4-4573-BD30-3E9F72AEA35B}" srcOrd="7" destOrd="0" presId="urn:microsoft.com/office/officeart/2008/layout/VerticalCurvedList"/>
    <dgm:cxn modelId="{34C7A386-5E32-4D97-918F-98F45D59C9F8}" type="presParOf" srcId="{45027294-ED83-497B-BBA5-0B031C832587}" destId="{E271A5FE-D6F2-4B1B-AB89-4D4A5DF81A98}" srcOrd="8" destOrd="0" presId="urn:microsoft.com/office/officeart/2008/layout/VerticalCurvedList"/>
    <dgm:cxn modelId="{7BCE7CD4-5490-4A25-AECB-79333DC8B70C}" type="presParOf" srcId="{E271A5FE-D6F2-4B1B-AB89-4D4A5DF81A98}" destId="{A8717577-1013-443F-8F84-057EC3F292BD}" srcOrd="0" destOrd="0" presId="urn:microsoft.com/office/officeart/2008/layout/VerticalCurvedList"/>
    <dgm:cxn modelId="{7DAB5282-6FB3-497D-A71B-89413D5A0960}" type="presParOf" srcId="{45027294-ED83-497B-BBA5-0B031C832587}" destId="{27330BD2-B598-48F6-A120-3583F6B24BD6}" srcOrd="9" destOrd="0" presId="urn:microsoft.com/office/officeart/2008/layout/VerticalCurvedList"/>
    <dgm:cxn modelId="{8480CBC3-0D38-4FF2-AB17-399D3578FFCD}" type="presParOf" srcId="{45027294-ED83-497B-BBA5-0B031C832587}" destId="{D40A8F64-CFAB-4FC8-8ABE-732D0BC53015}" srcOrd="10" destOrd="0" presId="urn:microsoft.com/office/officeart/2008/layout/VerticalCurvedList"/>
    <dgm:cxn modelId="{786A6B11-1BC0-4733-898B-BDD00F57EC6C}" type="presParOf" srcId="{D40A8F64-CFAB-4FC8-8ABE-732D0BC53015}" destId="{F186B36C-C7D6-46AB-8360-2298845566C3}" srcOrd="0" destOrd="0" presId="urn:microsoft.com/office/officeart/2008/layout/VerticalCurvedList"/>
    <dgm:cxn modelId="{9A4363B5-4530-4799-AE9D-4FD06CCE29ED}" type="presParOf" srcId="{45027294-ED83-497B-BBA5-0B031C832587}" destId="{954D69F1-2B1A-415B-AA4B-C75309AD21B3}" srcOrd="11" destOrd="0" presId="urn:microsoft.com/office/officeart/2008/layout/VerticalCurvedList"/>
    <dgm:cxn modelId="{E83E93E8-2B5A-4986-8284-5539F525CC25}" type="presParOf" srcId="{45027294-ED83-497B-BBA5-0B031C832587}" destId="{77674F4A-4216-4DBF-BE63-DF27CB0F1F9C}" srcOrd="12" destOrd="0" presId="urn:microsoft.com/office/officeart/2008/layout/VerticalCurvedList"/>
    <dgm:cxn modelId="{C75A7356-BEF1-4246-9A0B-D76372DFA7DB}" type="presParOf" srcId="{77674F4A-4216-4DBF-BE63-DF27CB0F1F9C}" destId="{A6047C3A-6AE2-4A48-A5A6-BB2B29AA193F}" srcOrd="0" destOrd="0" presId="urn:microsoft.com/office/officeart/2008/layout/VerticalCurv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2D2EDE-CC81-450F-9FA8-FD976F125A20}">
      <dsp:nvSpPr>
        <dsp:cNvPr id="0" name=""/>
        <dsp:cNvSpPr/>
      </dsp:nvSpPr>
      <dsp:spPr>
        <a:xfrm>
          <a:off x="1723220" y="1691977"/>
          <a:ext cx="2150577" cy="186033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Quality Management</a:t>
          </a:r>
        </a:p>
      </dsp:txBody>
      <dsp:txXfrm>
        <a:off x="2079601" y="2000261"/>
        <a:ext cx="1437815" cy="1243768"/>
      </dsp:txXfrm>
    </dsp:sp>
    <dsp:sp modelId="{B721D027-717A-40A9-BAA5-DADCB9B57342}">
      <dsp:nvSpPr>
        <dsp:cNvPr id="0" name=""/>
        <dsp:cNvSpPr/>
      </dsp:nvSpPr>
      <dsp:spPr>
        <a:xfrm>
          <a:off x="3069894" y="801932"/>
          <a:ext cx="811406" cy="699133"/>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049A74-A2A7-48FC-B306-E9C15242ACD0}">
      <dsp:nvSpPr>
        <dsp:cNvPr id="0" name=""/>
        <dsp:cNvSpPr/>
      </dsp:nvSpPr>
      <dsp:spPr>
        <a:xfrm>
          <a:off x="1921319" y="0"/>
          <a:ext cx="1762382" cy="1524668"/>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Contribution on audit impact</a:t>
          </a:r>
        </a:p>
      </dsp:txBody>
      <dsp:txXfrm>
        <a:off x="2213383" y="252670"/>
        <a:ext cx="1178254" cy="1019328"/>
      </dsp:txXfrm>
    </dsp:sp>
    <dsp:sp modelId="{261EDFA4-6CDA-4344-9259-5DD634446AA1}">
      <dsp:nvSpPr>
        <dsp:cNvPr id="0" name=""/>
        <dsp:cNvSpPr/>
      </dsp:nvSpPr>
      <dsp:spPr>
        <a:xfrm>
          <a:off x="4016869" y="2108940"/>
          <a:ext cx="811406" cy="699133"/>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8D37732-AEE8-46A5-9F00-998840F15308}">
      <dsp:nvSpPr>
        <dsp:cNvPr id="0" name=""/>
        <dsp:cNvSpPr/>
      </dsp:nvSpPr>
      <dsp:spPr>
        <a:xfrm>
          <a:off x="3537629" y="937773"/>
          <a:ext cx="1762382" cy="1524668"/>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Key changes between QC and QM </a:t>
          </a:r>
        </a:p>
      </dsp:txBody>
      <dsp:txXfrm>
        <a:off x="3829693" y="1190443"/>
        <a:ext cx="1178254" cy="1019328"/>
      </dsp:txXfrm>
    </dsp:sp>
    <dsp:sp modelId="{E83D7F50-2E69-43D9-A134-DFEB30E097E7}">
      <dsp:nvSpPr>
        <dsp:cNvPr id="0" name=""/>
        <dsp:cNvSpPr/>
      </dsp:nvSpPr>
      <dsp:spPr>
        <a:xfrm>
          <a:off x="3359039" y="3584307"/>
          <a:ext cx="811406" cy="699133"/>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BADEB52-4A3E-42EA-9868-E910F2286C30}">
      <dsp:nvSpPr>
        <dsp:cNvPr id="0" name=""/>
        <dsp:cNvSpPr/>
      </dsp:nvSpPr>
      <dsp:spPr>
        <a:xfrm>
          <a:off x="3537629" y="2781325"/>
          <a:ext cx="1762382" cy="1524668"/>
        </a:xfrm>
        <a:prstGeom prst="hexagon">
          <a:avLst>
            <a:gd name="adj" fmla="val 28570"/>
            <a:gd name="vf" fmla="val 11547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critical steps in QM process</a:t>
          </a:r>
        </a:p>
      </dsp:txBody>
      <dsp:txXfrm>
        <a:off x="3829693" y="3033995"/>
        <a:ext cx="1178254" cy="1019328"/>
      </dsp:txXfrm>
    </dsp:sp>
    <dsp:sp modelId="{F324E384-F017-4C7B-8377-9901354DBFCF}">
      <dsp:nvSpPr>
        <dsp:cNvPr id="0" name=""/>
        <dsp:cNvSpPr/>
      </dsp:nvSpPr>
      <dsp:spPr>
        <a:xfrm>
          <a:off x="1727222" y="3737455"/>
          <a:ext cx="811406" cy="699133"/>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056B9B-EE4E-4A9B-A8FC-C8385F57CECB}">
      <dsp:nvSpPr>
        <dsp:cNvPr id="0" name=""/>
        <dsp:cNvSpPr/>
      </dsp:nvSpPr>
      <dsp:spPr>
        <a:xfrm>
          <a:off x="1921319" y="3720147"/>
          <a:ext cx="1762382" cy="1524668"/>
        </a:xfrm>
        <a:prstGeom prst="hexagon">
          <a:avLst>
            <a:gd name="adj" fmla="val 2857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Enhancement of audit standards and audit engagement processes</a:t>
          </a:r>
        </a:p>
      </dsp:txBody>
      <dsp:txXfrm>
        <a:off x="2213383" y="3972817"/>
        <a:ext cx="1178254" cy="1019328"/>
      </dsp:txXfrm>
    </dsp:sp>
    <dsp:sp modelId="{77DC00E4-8F97-4823-ACF7-080EDB33BBA7}">
      <dsp:nvSpPr>
        <dsp:cNvPr id="0" name=""/>
        <dsp:cNvSpPr/>
      </dsp:nvSpPr>
      <dsp:spPr>
        <a:xfrm>
          <a:off x="764740" y="2430972"/>
          <a:ext cx="811406" cy="699133"/>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70EEF5-98E0-401B-B2C2-A789558E9998}">
      <dsp:nvSpPr>
        <dsp:cNvPr id="0" name=""/>
        <dsp:cNvSpPr/>
      </dsp:nvSpPr>
      <dsp:spPr>
        <a:xfrm>
          <a:off x="297506" y="2782374"/>
          <a:ext cx="1762382" cy="1524668"/>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Successes and challenges -  (Small and developing SAIs)</a:t>
          </a:r>
        </a:p>
      </dsp:txBody>
      <dsp:txXfrm>
        <a:off x="589570" y="3035044"/>
        <a:ext cx="1178254" cy="1019328"/>
      </dsp:txXfrm>
    </dsp:sp>
    <dsp:sp modelId="{E4946A4F-B569-416A-A3AB-442AC07B9275}">
      <dsp:nvSpPr>
        <dsp:cNvPr id="0" name=""/>
        <dsp:cNvSpPr/>
      </dsp:nvSpPr>
      <dsp:spPr>
        <a:xfrm>
          <a:off x="297506" y="935675"/>
          <a:ext cx="1762382" cy="1524668"/>
        </a:xfrm>
        <a:prstGeom prst="hexagon">
          <a:avLst>
            <a:gd name="adj" fmla="val 28570"/>
            <a:gd name="vf" fmla="val 115470"/>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 SAIs with aspects of QM already in place</a:t>
          </a:r>
        </a:p>
      </dsp:txBody>
      <dsp:txXfrm>
        <a:off x="589570" y="1188345"/>
        <a:ext cx="1178254" cy="10193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63E60-AA91-4D14-85D0-4210B1C356BE}">
      <dsp:nvSpPr>
        <dsp:cNvPr id="0" name=""/>
        <dsp:cNvSpPr/>
      </dsp:nvSpPr>
      <dsp:spPr>
        <a:xfrm>
          <a:off x="-4897809" y="-750544"/>
          <a:ext cx="5833321" cy="5833321"/>
        </a:xfrm>
        <a:prstGeom prst="blockArc">
          <a:avLst>
            <a:gd name="adj1" fmla="val 18900000"/>
            <a:gd name="adj2" fmla="val 2700000"/>
            <a:gd name="adj3" fmla="val 370"/>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A85C2A-55FA-44C0-8376-3ABC6E1709F4}">
      <dsp:nvSpPr>
        <dsp:cNvPr id="0" name=""/>
        <dsp:cNvSpPr/>
      </dsp:nvSpPr>
      <dsp:spPr>
        <a:xfrm>
          <a:off x="349106" y="228135"/>
          <a:ext cx="6302660" cy="45609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027"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Multi-disciplinary teams </a:t>
          </a:r>
          <a:r>
            <a:rPr lang="en-US" sz="1400" kern="1200" dirty="0"/>
            <a:t>(IT, forensic, tax, legal)</a:t>
          </a:r>
          <a:endParaRPr lang="en-US" sz="2900" kern="1200" dirty="0"/>
        </a:p>
      </dsp:txBody>
      <dsp:txXfrm>
        <a:off x="349106" y="228135"/>
        <a:ext cx="6302660" cy="456097"/>
      </dsp:txXfrm>
    </dsp:sp>
    <dsp:sp modelId="{1594B239-7055-4FA3-B347-F3944473404B}">
      <dsp:nvSpPr>
        <dsp:cNvPr id="0" name=""/>
        <dsp:cNvSpPr/>
      </dsp:nvSpPr>
      <dsp:spPr>
        <a:xfrm>
          <a:off x="64045" y="171123"/>
          <a:ext cx="570121" cy="57012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7FF85B-55BD-4475-B349-96884B9FDD32}">
      <dsp:nvSpPr>
        <dsp:cNvPr id="0" name=""/>
        <dsp:cNvSpPr/>
      </dsp:nvSpPr>
      <dsp:spPr>
        <a:xfrm>
          <a:off x="724277" y="912194"/>
          <a:ext cx="5927489" cy="45609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027"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Standards and regulatory bodies</a:t>
          </a:r>
        </a:p>
      </dsp:txBody>
      <dsp:txXfrm>
        <a:off x="724277" y="912194"/>
        <a:ext cx="5927489" cy="456097"/>
      </dsp:txXfrm>
    </dsp:sp>
    <dsp:sp modelId="{13F0E819-E73D-495F-9D49-CF2B87D2EAF4}">
      <dsp:nvSpPr>
        <dsp:cNvPr id="0" name=""/>
        <dsp:cNvSpPr/>
      </dsp:nvSpPr>
      <dsp:spPr>
        <a:xfrm>
          <a:off x="439216" y="855182"/>
          <a:ext cx="570121" cy="57012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FDFC0F-139A-41A1-B9FC-954130658D0B}">
      <dsp:nvSpPr>
        <dsp:cNvPr id="0" name=""/>
        <dsp:cNvSpPr/>
      </dsp:nvSpPr>
      <dsp:spPr>
        <a:xfrm>
          <a:off x="895834" y="1596254"/>
          <a:ext cx="5755932" cy="45609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027"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Academic institutions</a:t>
          </a:r>
        </a:p>
      </dsp:txBody>
      <dsp:txXfrm>
        <a:off x="895834" y="1596254"/>
        <a:ext cx="5755932" cy="456097"/>
      </dsp:txXfrm>
    </dsp:sp>
    <dsp:sp modelId="{32D10238-4BA6-413C-9C76-8B2D5E874B2D}">
      <dsp:nvSpPr>
        <dsp:cNvPr id="0" name=""/>
        <dsp:cNvSpPr/>
      </dsp:nvSpPr>
      <dsp:spPr>
        <a:xfrm>
          <a:off x="610773" y="1539242"/>
          <a:ext cx="570121" cy="57012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7963EF-C4F4-4573-BD30-3E9F72AEA35B}">
      <dsp:nvSpPr>
        <dsp:cNvPr id="0" name=""/>
        <dsp:cNvSpPr/>
      </dsp:nvSpPr>
      <dsp:spPr>
        <a:xfrm>
          <a:off x="895834" y="2279880"/>
          <a:ext cx="5755932" cy="45609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027"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Collaboration with business</a:t>
          </a:r>
        </a:p>
      </dsp:txBody>
      <dsp:txXfrm>
        <a:off x="895834" y="2279880"/>
        <a:ext cx="5755932" cy="456097"/>
      </dsp:txXfrm>
    </dsp:sp>
    <dsp:sp modelId="{A8717577-1013-443F-8F84-057EC3F292BD}">
      <dsp:nvSpPr>
        <dsp:cNvPr id="0" name=""/>
        <dsp:cNvSpPr/>
      </dsp:nvSpPr>
      <dsp:spPr>
        <a:xfrm>
          <a:off x="610773" y="2222868"/>
          <a:ext cx="570121" cy="57012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330BD2-B598-48F6-A120-3583F6B24BD6}">
      <dsp:nvSpPr>
        <dsp:cNvPr id="0" name=""/>
        <dsp:cNvSpPr/>
      </dsp:nvSpPr>
      <dsp:spPr>
        <a:xfrm>
          <a:off x="724277" y="2963940"/>
          <a:ext cx="5927489" cy="45609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027"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Investment in young professionals</a:t>
          </a:r>
        </a:p>
      </dsp:txBody>
      <dsp:txXfrm>
        <a:off x="724277" y="2963940"/>
        <a:ext cx="5927489" cy="456097"/>
      </dsp:txXfrm>
    </dsp:sp>
    <dsp:sp modelId="{F186B36C-C7D6-46AB-8360-2298845566C3}">
      <dsp:nvSpPr>
        <dsp:cNvPr id="0" name=""/>
        <dsp:cNvSpPr/>
      </dsp:nvSpPr>
      <dsp:spPr>
        <a:xfrm>
          <a:off x="439216" y="2906928"/>
          <a:ext cx="570121" cy="57012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954D69F1-2B1A-415B-AA4B-C75309AD21B3}">
      <dsp:nvSpPr>
        <dsp:cNvPr id="0" name=""/>
        <dsp:cNvSpPr/>
      </dsp:nvSpPr>
      <dsp:spPr>
        <a:xfrm>
          <a:off x="349106" y="3648000"/>
          <a:ext cx="6302660" cy="45609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027"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Automation and technology</a:t>
          </a:r>
        </a:p>
      </dsp:txBody>
      <dsp:txXfrm>
        <a:off x="349106" y="3648000"/>
        <a:ext cx="6302660" cy="456097"/>
      </dsp:txXfrm>
    </dsp:sp>
    <dsp:sp modelId="{A6047C3A-6AE2-4A48-A5A6-BB2B29AA193F}">
      <dsp:nvSpPr>
        <dsp:cNvPr id="0" name=""/>
        <dsp:cNvSpPr/>
      </dsp:nvSpPr>
      <dsp:spPr>
        <a:xfrm>
          <a:off x="64045" y="3590987"/>
          <a:ext cx="570121" cy="57012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367454"/>
          </a:xfrm>
          <a:prstGeom prst="rect">
            <a:avLst/>
          </a:prstGeom>
        </p:spPr>
        <p:txBody>
          <a:bodyPr vert="horz" lIns="94412" tIns="47206" rIns="94412" bIns="47206" rtlCol="0"/>
          <a:lstStyle>
            <a:lvl1pPr algn="l">
              <a:defRPr sz="1200"/>
            </a:lvl1pPr>
          </a:lstStyle>
          <a:p>
            <a:endParaRPr lang="en-ZA" dirty="0"/>
          </a:p>
        </p:txBody>
      </p:sp>
      <p:sp>
        <p:nvSpPr>
          <p:cNvPr id="3" name="Date Placeholder 2"/>
          <p:cNvSpPr>
            <a:spLocks noGrp="1"/>
          </p:cNvSpPr>
          <p:nvPr>
            <p:ph type="dt" sz="quarter" idx="1"/>
          </p:nvPr>
        </p:nvSpPr>
        <p:spPr>
          <a:xfrm>
            <a:off x="5438180" y="0"/>
            <a:ext cx="4160520" cy="367454"/>
          </a:xfrm>
          <a:prstGeom prst="rect">
            <a:avLst/>
          </a:prstGeom>
        </p:spPr>
        <p:txBody>
          <a:bodyPr vert="horz" lIns="94412" tIns="47206" rIns="94412" bIns="47206" rtlCol="0"/>
          <a:lstStyle>
            <a:lvl1pPr algn="r">
              <a:defRPr sz="1200"/>
            </a:lvl1pPr>
          </a:lstStyle>
          <a:p>
            <a:fld id="{A6E1AE04-A545-4A83-AF67-1D3477E3C46D}" type="datetimeFigureOut">
              <a:rPr lang="en-ZA" smtClean="0"/>
              <a:t>2023/06/21</a:t>
            </a:fld>
            <a:endParaRPr lang="en-ZA" dirty="0"/>
          </a:p>
        </p:txBody>
      </p:sp>
      <p:sp>
        <p:nvSpPr>
          <p:cNvPr id="4" name="Footer Placeholder 3"/>
          <p:cNvSpPr>
            <a:spLocks noGrp="1"/>
          </p:cNvSpPr>
          <p:nvPr>
            <p:ph type="ftr" sz="quarter" idx="2"/>
          </p:nvPr>
        </p:nvSpPr>
        <p:spPr>
          <a:xfrm>
            <a:off x="0" y="6947749"/>
            <a:ext cx="4160520" cy="367453"/>
          </a:xfrm>
          <a:prstGeom prst="rect">
            <a:avLst/>
          </a:prstGeom>
        </p:spPr>
        <p:txBody>
          <a:bodyPr vert="horz" lIns="94412" tIns="47206" rIns="94412" bIns="47206" rtlCol="0" anchor="b"/>
          <a:lstStyle>
            <a:lvl1pPr algn="l">
              <a:defRPr sz="1200"/>
            </a:lvl1pPr>
          </a:lstStyle>
          <a:p>
            <a:endParaRPr lang="en-ZA" dirty="0"/>
          </a:p>
        </p:txBody>
      </p:sp>
      <p:sp>
        <p:nvSpPr>
          <p:cNvPr id="5" name="Slide Number Placeholder 4"/>
          <p:cNvSpPr>
            <a:spLocks noGrp="1"/>
          </p:cNvSpPr>
          <p:nvPr>
            <p:ph type="sldNum" sz="quarter" idx="3"/>
          </p:nvPr>
        </p:nvSpPr>
        <p:spPr>
          <a:xfrm>
            <a:off x="5438180" y="6947749"/>
            <a:ext cx="4160520" cy="367453"/>
          </a:xfrm>
          <a:prstGeom prst="rect">
            <a:avLst/>
          </a:prstGeom>
        </p:spPr>
        <p:txBody>
          <a:bodyPr vert="horz" lIns="94412" tIns="47206" rIns="94412" bIns="47206" rtlCol="0" anchor="b"/>
          <a:lstStyle>
            <a:lvl1pPr algn="r">
              <a:defRPr sz="1200"/>
            </a:lvl1pPr>
          </a:lstStyle>
          <a:p>
            <a:fld id="{3941A932-62E3-41B6-990A-E97CCF89DBFC}" type="slidenum">
              <a:rPr lang="en-ZA" smtClean="0"/>
              <a:t>‹#›</a:t>
            </a:fld>
            <a:endParaRPr lang="en-ZA" dirty="0"/>
          </a:p>
        </p:txBody>
      </p:sp>
    </p:spTree>
    <p:extLst>
      <p:ext uri="{BB962C8B-B14F-4D97-AF65-F5344CB8AC3E}">
        <p14:creationId xmlns:p14="http://schemas.microsoft.com/office/powerpoint/2010/main" val="9071336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367454"/>
          </a:xfrm>
          <a:prstGeom prst="rect">
            <a:avLst/>
          </a:prstGeom>
        </p:spPr>
        <p:txBody>
          <a:bodyPr vert="horz" lIns="94412" tIns="47206" rIns="94412" bIns="47206" rtlCol="0"/>
          <a:lstStyle>
            <a:lvl1pPr algn="l">
              <a:defRPr sz="1200"/>
            </a:lvl1pPr>
          </a:lstStyle>
          <a:p>
            <a:endParaRPr lang="en-ZA" dirty="0"/>
          </a:p>
        </p:txBody>
      </p:sp>
      <p:sp>
        <p:nvSpPr>
          <p:cNvPr id="3" name="Date Placeholder 2"/>
          <p:cNvSpPr>
            <a:spLocks noGrp="1"/>
          </p:cNvSpPr>
          <p:nvPr>
            <p:ph type="dt" idx="1"/>
          </p:nvPr>
        </p:nvSpPr>
        <p:spPr>
          <a:xfrm>
            <a:off x="5438180" y="0"/>
            <a:ext cx="4160520" cy="367454"/>
          </a:xfrm>
          <a:prstGeom prst="rect">
            <a:avLst/>
          </a:prstGeom>
        </p:spPr>
        <p:txBody>
          <a:bodyPr vert="horz" lIns="94412" tIns="47206" rIns="94412" bIns="47206" rtlCol="0"/>
          <a:lstStyle>
            <a:lvl1pPr algn="r">
              <a:defRPr sz="1200"/>
            </a:lvl1pPr>
          </a:lstStyle>
          <a:p>
            <a:fld id="{E920FEE8-5B4C-4EE7-A657-82DF385E96D2}" type="datetimeFigureOut">
              <a:rPr lang="en-ZA" smtClean="0"/>
              <a:t>2023/06/21</a:t>
            </a:fld>
            <a:endParaRPr lang="en-ZA" dirty="0"/>
          </a:p>
        </p:txBody>
      </p:sp>
      <p:sp>
        <p:nvSpPr>
          <p:cNvPr id="4" name="Slide Image Placeholder 3"/>
          <p:cNvSpPr>
            <a:spLocks noGrp="1" noRot="1" noChangeAspect="1"/>
          </p:cNvSpPr>
          <p:nvPr>
            <p:ph type="sldImg" idx="2"/>
          </p:nvPr>
        </p:nvSpPr>
        <p:spPr>
          <a:xfrm>
            <a:off x="2606675" y="914400"/>
            <a:ext cx="4387850" cy="2468563"/>
          </a:xfrm>
          <a:prstGeom prst="rect">
            <a:avLst/>
          </a:prstGeom>
          <a:noFill/>
          <a:ln w="12700">
            <a:solidFill>
              <a:prstClr val="black"/>
            </a:solidFill>
          </a:ln>
        </p:spPr>
        <p:txBody>
          <a:bodyPr vert="horz" lIns="94412" tIns="47206" rIns="94412" bIns="47206" rtlCol="0" anchor="ctr"/>
          <a:lstStyle/>
          <a:p>
            <a:endParaRPr lang="en-ZA" dirty="0"/>
          </a:p>
        </p:txBody>
      </p:sp>
      <p:sp>
        <p:nvSpPr>
          <p:cNvPr id="5" name="Notes Placeholder 4"/>
          <p:cNvSpPr>
            <a:spLocks noGrp="1"/>
          </p:cNvSpPr>
          <p:nvPr>
            <p:ph type="body" sz="quarter" idx="3"/>
          </p:nvPr>
        </p:nvSpPr>
        <p:spPr>
          <a:xfrm>
            <a:off x="960120" y="3520442"/>
            <a:ext cx="7680960" cy="2880359"/>
          </a:xfrm>
          <a:prstGeom prst="rect">
            <a:avLst/>
          </a:prstGeom>
        </p:spPr>
        <p:txBody>
          <a:bodyPr vert="horz" lIns="94412" tIns="47206" rIns="94412" bIns="4720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6947749"/>
            <a:ext cx="4160520" cy="367453"/>
          </a:xfrm>
          <a:prstGeom prst="rect">
            <a:avLst/>
          </a:prstGeom>
        </p:spPr>
        <p:txBody>
          <a:bodyPr vert="horz" lIns="94412" tIns="47206" rIns="94412" bIns="47206" rtlCol="0" anchor="b"/>
          <a:lstStyle>
            <a:lvl1pPr algn="l">
              <a:defRPr sz="1200"/>
            </a:lvl1pPr>
          </a:lstStyle>
          <a:p>
            <a:endParaRPr lang="en-ZA" dirty="0"/>
          </a:p>
        </p:txBody>
      </p:sp>
      <p:sp>
        <p:nvSpPr>
          <p:cNvPr id="7" name="Slide Number Placeholder 6"/>
          <p:cNvSpPr>
            <a:spLocks noGrp="1"/>
          </p:cNvSpPr>
          <p:nvPr>
            <p:ph type="sldNum" sz="quarter" idx="5"/>
          </p:nvPr>
        </p:nvSpPr>
        <p:spPr>
          <a:xfrm>
            <a:off x="5438180" y="6947749"/>
            <a:ext cx="4160520" cy="367453"/>
          </a:xfrm>
          <a:prstGeom prst="rect">
            <a:avLst/>
          </a:prstGeom>
        </p:spPr>
        <p:txBody>
          <a:bodyPr vert="horz" lIns="94412" tIns="47206" rIns="94412" bIns="47206" rtlCol="0" anchor="b"/>
          <a:lstStyle>
            <a:lvl1pPr algn="r">
              <a:defRPr sz="1200"/>
            </a:lvl1pPr>
          </a:lstStyle>
          <a:p>
            <a:fld id="{7B029F0F-4525-49E7-B526-19EABBFDD551}" type="slidenum">
              <a:rPr lang="en-ZA" smtClean="0"/>
              <a:t>‹#›</a:t>
            </a:fld>
            <a:endParaRPr lang="en-ZA" dirty="0"/>
          </a:p>
        </p:txBody>
      </p:sp>
    </p:spTree>
    <p:extLst>
      <p:ext uri="{BB962C8B-B14F-4D97-AF65-F5344CB8AC3E}">
        <p14:creationId xmlns:p14="http://schemas.microsoft.com/office/powerpoint/2010/main" val="3489939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CB2AAD-DD4E-4260-8510-EA019E2B006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4664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0322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365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866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189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B029F0F-4525-49E7-B526-19EABBFDD551}" type="slidenum">
              <a:rPr lang="en-ZA" smtClean="0"/>
              <a:t>6</a:t>
            </a:fld>
            <a:endParaRPr lang="en-ZA" dirty="0"/>
          </a:p>
        </p:txBody>
      </p:sp>
    </p:spTree>
    <p:extLst>
      <p:ext uri="{BB962C8B-B14F-4D97-AF65-F5344CB8AC3E}">
        <p14:creationId xmlns:p14="http://schemas.microsoft.com/office/powerpoint/2010/main" val="2046136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41.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image" Target="../media/image39.png"/><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arget="../media/image21.png" Type="http://schemas.openxmlformats.org/officeDocument/2006/relationships/image"/><Relationship Id="rId13" Target="../media/image26.png" Type="http://schemas.openxmlformats.org/officeDocument/2006/relationships/image"/><Relationship Id="rId18" Target="../media/image31.png" Type="http://schemas.openxmlformats.org/officeDocument/2006/relationships/image"/><Relationship Id="rId3" Target="../media/image16.png" Type="http://schemas.openxmlformats.org/officeDocument/2006/relationships/image"/><Relationship Id="rId21" Target="../media/image34.png" Type="http://schemas.openxmlformats.org/officeDocument/2006/relationships/image"/><Relationship Id="rId7" Target="../media/image20.png" Type="http://schemas.openxmlformats.org/officeDocument/2006/relationships/image"/><Relationship Id="rId12" Target="../media/image25.png" Type="http://schemas.openxmlformats.org/officeDocument/2006/relationships/image"/><Relationship Id="rId17" Target="../media/image30.png" Type="http://schemas.openxmlformats.org/officeDocument/2006/relationships/image"/><Relationship Id="rId2" Target="../media/image15.jpeg" Type="http://schemas.openxmlformats.org/officeDocument/2006/relationships/image"/><Relationship Id="rId16" Target="../media/image29.png" Type="http://schemas.openxmlformats.org/officeDocument/2006/relationships/image"/><Relationship Id="rId20" Target="../media/image33.png" Type="http://schemas.openxmlformats.org/officeDocument/2006/relationships/image"/><Relationship Id="rId1" Target="../slideMasters/slideMaster2.xml" Type="http://schemas.openxmlformats.org/officeDocument/2006/relationships/slideMaster"/><Relationship Id="rId6" Target="../media/image19.png" Type="http://schemas.openxmlformats.org/officeDocument/2006/relationships/image"/><Relationship Id="rId11" Target="../media/image24.png" Type="http://schemas.openxmlformats.org/officeDocument/2006/relationships/image"/><Relationship Id="rId24" Target="../media/image37.png" Type="http://schemas.openxmlformats.org/officeDocument/2006/relationships/image"/><Relationship Id="rId5" Target="../media/image18.png" Type="http://schemas.openxmlformats.org/officeDocument/2006/relationships/image"/><Relationship Id="rId15" Target="../media/image28.png" Type="http://schemas.openxmlformats.org/officeDocument/2006/relationships/image"/><Relationship Id="rId23" Target="../media/image36.png" Type="http://schemas.openxmlformats.org/officeDocument/2006/relationships/image"/><Relationship Id="rId10" Target="../media/image23.png" Type="http://schemas.openxmlformats.org/officeDocument/2006/relationships/image"/><Relationship Id="rId19" Target="../media/image32.png" Type="http://schemas.openxmlformats.org/officeDocument/2006/relationships/image"/><Relationship Id="rId4" Target="../media/image17.png" Type="http://schemas.openxmlformats.org/officeDocument/2006/relationships/image"/><Relationship Id="rId9" Target="../media/image22.png" Type="http://schemas.openxmlformats.org/officeDocument/2006/relationships/image"/><Relationship Id="rId14" Target="../media/image27.png" Type="http://schemas.openxmlformats.org/officeDocument/2006/relationships/image"/><Relationship Id="rId22" Target="../media/image35.png" Type="http://schemas.openxmlformats.org/officeDocument/2006/relationships/image"/></Relationships>
</file>

<file path=ppt/slideLayouts/_rels/slideLayout9.xml.rels><?xml version="1.0" encoding="UTF-8" standalone="yes" ?><Relationships xmlns="http://schemas.openxmlformats.org/package/2006/relationships"><Relationship Id="rId8" Target="../media/image21.png" Type="http://schemas.openxmlformats.org/officeDocument/2006/relationships/image"/><Relationship Id="rId13" Target="../media/image26.png" Type="http://schemas.openxmlformats.org/officeDocument/2006/relationships/image"/><Relationship Id="rId18" Target="../media/image31.png" Type="http://schemas.openxmlformats.org/officeDocument/2006/relationships/image"/><Relationship Id="rId3" Target="../media/image16.png" Type="http://schemas.openxmlformats.org/officeDocument/2006/relationships/image"/><Relationship Id="rId21" Target="../media/image34.png" Type="http://schemas.openxmlformats.org/officeDocument/2006/relationships/image"/><Relationship Id="rId7" Target="../media/image20.png" Type="http://schemas.openxmlformats.org/officeDocument/2006/relationships/image"/><Relationship Id="rId12" Target="../media/image25.png" Type="http://schemas.openxmlformats.org/officeDocument/2006/relationships/image"/><Relationship Id="rId17" Target="../media/image30.png" Type="http://schemas.openxmlformats.org/officeDocument/2006/relationships/image"/><Relationship Id="rId2" Target="../media/image15.jpeg" Type="http://schemas.openxmlformats.org/officeDocument/2006/relationships/image"/><Relationship Id="rId16" Target="../media/image29.png" Type="http://schemas.openxmlformats.org/officeDocument/2006/relationships/image"/><Relationship Id="rId20" Target="../media/image33.png" Type="http://schemas.openxmlformats.org/officeDocument/2006/relationships/image"/><Relationship Id="rId1" Target="../slideMasters/slideMaster2.xml" Type="http://schemas.openxmlformats.org/officeDocument/2006/relationships/slideMaster"/><Relationship Id="rId6" Target="../media/image19.png" Type="http://schemas.openxmlformats.org/officeDocument/2006/relationships/image"/><Relationship Id="rId11" Target="../media/image24.png" Type="http://schemas.openxmlformats.org/officeDocument/2006/relationships/image"/><Relationship Id="rId24" Target="../media/image37.png" Type="http://schemas.openxmlformats.org/officeDocument/2006/relationships/image"/><Relationship Id="rId5" Target="../media/image18.png" Type="http://schemas.openxmlformats.org/officeDocument/2006/relationships/image"/><Relationship Id="rId15" Target="../media/image28.png" Type="http://schemas.openxmlformats.org/officeDocument/2006/relationships/image"/><Relationship Id="rId23" Target="../media/image36.png" Type="http://schemas.openxmlformats.org/officeDocument/2006/relationships/image"/><Relationship Id="rId10" Target="../media/image23.png" Type="http://schemas.openxmlformats.org/officeDocument/2006/relationships/image"/><Relationship Id="rId19" Target="../media/image32.png" Type="http://schemas.openxmlformats.org/officeDocument/2006/relationships/image"/><Relationship Id="rId4" Target="../media/image17.png" Type="http://schemas.openxmlformats.org/officeDocument/2006/relationships/image"/><Relationship Id="rId9" Target="../media/image22.png" Type="http://schemas.openxmlformats.org/officeDocument/2006/relationships/image"/><Relationship Id="rId14" Target="../media/image27.png" Type="http://schemas.openxmlformats.org/officeDocument/2006/relationships/image"/><Relationship Id="rId22" Target="../media/image35.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p:cNvSpPr>
            <a:spLocks noGrp="1"/>
          </p:cNvSpPr>
          <p:nvPr>
            <p:ph type="title"/>
          </p:nvPr>
        </p:nvSpPr>
        <p:spPr>
          <a:xfrm>
            <a:off x="609600" y="274638"/>
            <a:ext cx="10769600" cy="487362"/>
          </a:xfrm>
          <a:prstGeom prst="rect">
            <a:avLst/>
          </a:prstGeom>
        </p:spPr>
        <p:txBody>
          <a:bodyPr>
            <a:noAutofit/>
          </a:bodyPr>
          <a:lstStyle>
            <a:lvl1pPr algn="l">
              <a:defRPr lang="en-US" sz="3600" kern="1200" dirty="0">
                <a:solidFill>
                  <a:srgbClr val="00A88E"/>
                </a:solidFill>
                <a:latin typeface="Century Gothic" panose="020B0502020202020204" pitchFamily="34" charset="0"/>
                <a:ea typeface="+mj-ea"/>
                <a:cs typeface="+mj-cs"/>
              </a:defRPr>
            </a:lvl1pPr>
          </a:lstStyle>
          <a:p>
            <a:r>
              <a:rPr lang="en-US" dirty="0"/>
              <a:t>Click to edit Master title style</a:t>
            </a:r>
          </a:p>
        </p:txBody>
      </p:sp>
      <p:sp>
        <p:nvSpPr>
          <p:cNvPr id="8" name="Content Placeholder 2"/>
          <p:cNvSpPr>
            <a:spLocks noGrp="1"/>
          </p:cNvSpPr>
          <p:nvPr>
            <p:ph idx="1"/>
          </p:nvPr>
        </p:nvSpPr>
        <p:spPr>
          <a:xfrm>
            <a:off x="609600" y="914401"/>
            <a:ext cx="10972800" cy="5211763"/>
          </a:xfrm>
          <a:prstGeom prst="rect">
            <a:avLst/>
          </a:prstGeom>
        </p:spPr>
        <p:txBody>
          <a:bodyPr>
            <a:normAutofit/>
          </a:bodyPr>
          <a:lstStyle>
            <a:lvl1pPr>
              <a:buNone/>
              <a:defRPr sz="1800">
                <a:solidFill>
                  <a:schemeClr val="tx1">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3052034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4C2985-4E75-83B7-822B-F915F530BB4F}"/>
              </a:ext>
            </a:extLst>
          </p:cNvPr>
          <p:cNvSpPr/>
          <p:nvPr userDrawn="1"/>
        </p:nvSpPr>
        <p:spPr>
          <a:xfrm>
            <a:off x="0" y="151619"/>
            <a:ext cx="12192000" cy="593236"/>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339090" y="264178"/>
            <a:ext cx="10438551" cy="481681"/>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5" name="Picture 7">
            <a:extLst>
              <a:ext uri="{FF2B5EF4-FFF2-40B4-BE49-F238E27FC236}">
                <a16:creationId xmlns:a16="http://schemas.microsoft.com/office/drawing/2014/main" id="{58F7D7D6-B9EE-FDF6-7FAF-C0F645B471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
        <p:nvSpPr>
          <p:cNvPr id="26" name="Oval 25">
            <a:extLst>
              <a:ext uri="{FF2B5EF4-FFF2-40B4-BE49-F238E27FC236}">
                <a16:creationId xmlns:a16="http://schemas.microsoft.com/office/drawing/2014/main" id="{B027F7EB-714F-5491-2AF0-3C9FC7B8BE18}"/>
              </a:ext>
            </a:extLst>
          </p:cNvPr>
          <p:cNvSpPr/>
          <p:nvPr userDrawn="1"/>
        </p:nvSpPr>
        <p:spPr>
          <a:xfrm>
            <a:off x="11193632" y="152521"/>
            <a:ext cx="612598" cy="612598"/>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77AD91AA-1815-524E-9F7C-ADDB15AD9213}"/>
              </a:ext>
            </a:extLst>
          </p:cNvPr>
          <p:cNvSpPr txBox="1"/>
          <p:nvPr userDrawn="1"/>
        </p:nvSpPr>
        <p:spPr>
          <a:xfrm>
            <a:off x="11209405" y="278960"/>
            <a:ext cx="602539" cy="338554"/>
          </a:xfrm>
          <a:prstGeom prst="rect">
            <a:avLst/>
          </a:prstGeom>
          <a:noFill/>
        </p:spPr>
        <p:txBody>
          <a:bodyPr wrap="square" rtlCol="0">
            <a:spAutoFit/>
          </a:bodyPr>
          <a:lstStyle/>
          <a:p>
            <a:pPr algn="ctr"/>
            <a:fld id="{48FD5EFF-1725-415C-94D6-8EEBD16210EC}" type="slidenum">
              <a:rPr lang="en-US" sz="1600" b="1" smtClean="0">
                <a:solidFill>
                  <a:srgbClr val="00A88E"/>
                </a:solidFill>
                <a:latin typeface="Century Gothic" charset="0"/>
                <a:ea typeface="Century Gothic" charset="0"/>
                <a:cs typeface="Century Gothic" charset="0"/>
              </a:rPr>
              <a:t>‹#›</a:t>
            </a:fld>
            <a:endParaRPr lang="en-US" sz="1600" b="1" dirty="0">
              <a:solidFill>
                <a:srgbClr val="00A88E"/>
              </a:solidFill>
              <a:latin typeface="Century Gothic" charset="0"/>
              <a:ea typeface="Century Gothic" charset="0"/>
              <a:cs typeface="Century Gothic" charset="0"/>
            </a:endParaRPr>
          </a:p>
        </p:txBody>
      </p:sp>
      <p:grpSp>
        <p:nvGrpSpPr>
          <p:cNvPr id="28" name="Group 27">
            <a:extLst>
              <a:ext uri="{FF2B5EF4-FFF2-40B4-BE49-F238E27FC236}">
                <a16:creationId xmlns:a16="http://schemas.microsoft.com/office/drawing/2014/main" id="{663CFBF9-076A-7471-B60A-6DA625DEC990}"/>
              </a:ext>
            </a:extLst>
          </p:cNvPr>
          <p:cNvGrpSpPr/>
          <p:nvPr userDrawn="1"/>
        </p:nvGrpSpPr>
        <p:grpSpPr>
          <a:xfrm>
            <a:off x="11068049" y="25579"/>
            <a:ext cx="866595" cy="866595"/>
            <a:chOff x="5999596" y="330534"/>
            <a:chExt cx="2250178" cy="2250178"/>
          </a:xfrm>
        </p:grpSpPr>
        <p:sp>
          <p:nvSpPr>
            <p:cNvPr id="29" name="Freeform 28">
              <a:extLst>
                <a:ext uri="{FF2B5EF4-FFF2-40B4-BE49-F238E27FC236}">
                  <a16:creationId xmlns:a16="http://schemas.microsoft.com/office/drawing/2014/main" id="{C961D866-CDB2-0E12-94EE-A33074C06D77}"/>
                </a:ext>
              </a:extLst>
            </p:cNvPr>
            <p:cNvSpPr/>
            <p:nvPr/>
          </p:nvSpPr>
          <p:spPr>
            <a:xfrm>
              <a:off x="7093309" y="530016"/>
              <a:ext cx="956983" cy="1851214"/>
            </a:xfrm>
            <a:custGeom>
              <a:avLst/>
              <a:gdLst>
                <a:gd name="connsiteX0" fmla="*/ 31376 w 956983"/>
                <a:gd name="connsiteY0" fmla="*/ 0 h 1851214"/>
                <a:gd name="connsiteX1" fmla="*/ 956983 w 956983"/>
                <a:gd name="connsiteY1" fmla="*/ 925607 h 1851214"/>
                <a:gd name="connsiteX2" fmla="*/ 31376 w 956983"/>
                <a:gd name="connsiteY2" fmla="*/ 1851214 h 1851214"/>
                <a:gd name="connsiteX3" fmla="*/ 0 w 956983"/>
                <a:gd name="connsiteY3" fmla="*/ 1849630 h 1851214"/>
                <a:gd name="connsiteX4" fmla="*/ 0 w 956983"/>
                <a:gd name="connsiteY4" fmla="*/ 1690506 h 1851214"/>
                <a:gd name="connsiteX5" fmla="*/ 31376 w 956983"/>
                <a:gd name="connsiteY5" fmla="*/ 1692090 h 1851214"/>
                <a:gd name="connsiteX6" fmla="*/ 797859 w 956983"/>
                <a:gd name="connsiteY6" fmla="*/ 925607 h 1851214"/>
                <a:gd name="connsiteX7" fmla="*/ 31376 w 956983"/>
                <a:gd name="connsiteY7" fmla="*/ 159124 h 1851214"/>
                <a:gd name="connsiteX8" fmla="*/ 0 w 956983"/>
                <a:gd name="connsiteY8" fmla="*/ 160708 h 1851214"/>
                <a:gd name="connsiteX9" fmla="*/ 0 w 956983"/>
                <a:gd name="connsiteY9" fmla="*/ 1584 h 1851214"/>
                <a:gd name="connsiteX10" fmla="*/ 31376 w 956983"/>
                <a:gd name="connsiteY10" fmla="*/ 0 h 185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983" h="1851214">
                  <a:moveTo>
                    <a:pt x="31376" y="0"/>
                  </a:moveTo>
                  <a:cubicBezTo>
                    <a:pt x="542575" y="0"/>
                    <a:pt x="956983" y="414408"/>
                    <a:pt x="956983" y="925607"/>
                  </a:cubicBezTo>
                  <a:cubicBezTo>
                    <a:pt x="956983" y="1436806"/>
                    <a:pt x="542575" y="1851214"/>
                    <a:pt x="31376" y="1851214"/>
                  </a:cubicBezTo>
                  <a:lnTo>
                    <a:pt x="0" y="1849630"/>
                  </a:lnTo>
                  <a:lnTo>
                    <a:pt x="0" y="1690506"/>
                  </a:lnTo>
                  <a:lnTo>
                    <a:pt x="31376" y="1692090"/>
                  </a:lnTo>
                  <a:cubicBezTo>
                    <a:pt x="454693" y="1692090"/>
                    <a:pt x="797859" y="1348924"/>
                    <a:pt x="797859" y="925607"/>
                  </a:cubicBezTo>
                  <a:cubicBezTo>
                    <a:pt x="797859" y="502290"/>
                    <a:pt x="454693" y="159124"/>
                    <a:pt x="31376" y="159124"/>
                  </a:cubicBezTo>
                  <a:lnTo>
                    <a:pt x="0" y="160708"/>
                  </a:lnTo>
                  <a:lnTo>
                    <a:pt x="0" y="1584"/>
                  </a:lnTo>
                  <a:lnTo>
                    <a:pt x="31376" y="0"/>
                  </a:lnTo>
                  <a:close/>
                </a:path>
              </a:pathLst>
            </a:custGeom>
            <a:gradFill>
              <a:gsLst>
                <a:gs pos="91000">
                  <a:schemeClr val="accent2">
                    <a:alpha val="25000"/>
                  </a:schemeClr>
                </a:gs>
                <a:gs pos="0">
                  <a:schemeClr val="accent2">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0" name="Freeform 29">
              <a:extLst>
                <a:ext uri="{FF2B5EF4-FFF2-40B4-BE49-F238E27FC236}">
                  <a16:creationId xmlns:a16="http://schemas.microsoft.com/office/drawing/2014/main" id="{5B7DEDAB-0321-9C79-5FA7-F5C2CA80B56E}"/>
                </a:ext>
              </a:extLst>
            </p:cNvPr>
            <p:cNvSpPr/>
            <p:nvPr/>
          </p:nvSpPr>
          <p:spPr>
            <a:xfrm>
              <a:off x="6199078" y="531600"/>
              <a:ext cx="894231" cy="1848046"/>
            </a:xfrm>
            <a:custGeom>
              <a:avLst/>
              <a:gdLst>
                <a:gd name="connsiteX0" fmla="*/ 894231 w 894231"/>
                <a:gd name="connsiteY0" fmla="*/ 0 h 1848046"/>
                <a:gd name="connsiteX1" fmla="*/ 894231 w 894231"/>
                <a:gd name="connsiteY1" fmla="*/ 159124 h 1848046"/>
                <a:gd name="connsiteX2" fmla="*/ 847239 w 894231"/>
                <a:gd name="connsiteY2" fmla="*/ 161497 h 1848046"/>
                <a:gd name="connsiteX3" fmla="*/ 159124 w 894231"/>
                <a:gd name="connsiteY3" fmla="*/ 924023 h 1848046"/>
                <a:gd name="connsiteX4" fmla="*/ 847239 w 894231"/>
                <a:gd name="connsiteY4" fmla="*/ 1686549 h 1848046"/>
                <a:gd name="connsiteX5" fmla="*/ 894231 w 894231"/>
                <a:gd name="connsiteY5" fmla="*/ 1688922 h 1848046"/>
                <a:gd name="connsiteX6" fmla="*/ 894231 w 894231"/>
                <a:gd name="connsiteY6" fmla="*/ 1848046 h 1848046"/>
                <a:gd name="connsiteX7" fmla="*/ 830969 w 894231"/>
                <a:gd name="connsiteY7" fmla="*/ 1844851 h 1848046"/>
                <a:gd name="connsiteX8" fmla="*/ 0 w 894231"/>
                <a:gd name="connsiteY8" fmla="*/ 924023 h 1848046"/>
                <a:gd name="connsiteX9" fmla="*/ 830969 w 894231"/>
                <a:gd name="connsiteY9" fmla="*/ 3195 h 1848046"/>
                <a:gd name="connsiteX10" fmla="*/ 894231 w 894231"/>
                <a:gd name="connsiteY10" fmla="*/ 0 h 184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231" h="1848046">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1" name="Freeform 30">
              <a:extLst>
                <a:ext uri="{FF2B5EF4-FFF2-40B4-BE49-F238E27FC236}">
                  <a16:creationId xmlns:a16="http://schemas.microsoft.com/office/drawing/2014/main" id="{A3554393-8F62-8C68-69EA-E3DC8B0643FD}"/>
                </a:ext>
              </a:extLst>
            </p:cNvPr>
            <p:cNvSpPr/>
            <p:nvPr/>
          </p:nvSpPr>
          <p:spPr>
            <a:xfrm>
              <a:off x="7093309" y="330534"/>
              <a:ext cx="1156465" cy="2250178"/>
            </a:xfrm>
            <a:custGeom>
              <a:avLst/>
              <a:gdLst>
                <a:gd name="connsiteX0" fmla="*/ 31376 w 1156465"/>
                <a:gd name="connsiteY0" fmla="*/ 0 h 2250178"/>
                <a:gd name="connsiteX1" fmla="*/ 1156465 w 1156465"/>
                <a:gd name="connsiteY1" fmla="*/ 1125089 h 2250178"/>
                <a:gd name="connsiteX2" fmla="*/ 31376 w 1156465"/>
                <a:gd name="connsiteY2" fmla="*/ 2250178 h 2250178"/>
                <a:gd name="connsiteX3" fmla="*/ 0 w 1156465"/>
                <a:gd name="connsiteY3" fmla="*/ 2248594 h 2250178"/>
                <a:gd name="connsiteX4" fmla="*/ 0 w 1156465"/>
                <a:gd name="connsiteY4" fmla="*/ 2049112 h 2250178"/>
                <a:gd name="connsiteX5" fmla="*/ 31376 w 1156465"/>
                <a:gd name="connsiteY5" fmla="*/ 2050696 h 2250178"/>
                <a:gd name="connsiteX6" fmla="*/ 956983 w 1156465"/>
                <a:gd name="connsiteY6" fmla="*/ 1125089 h 2250178"/>
                <a:gd name="connsiteX7" fmla="*/ 31376 w 1156465"/>
                <a:gd name="connsiteY7" fmla="*/ 199482 h 2250178"/>
                <a:gd name="connsiteX8" fmla="*/ 0 w 1156465"/>
                <a:gd name="connsiteY8" fmla="*/ 201066 h 2250178"/>
                <a:gd name="connsiteX9" fmla="*/ 0 w 1156465"/>
                <a:gd name="connsiteY9" fmla="*/ 1584 h 2250178"/>
                <a:gd name="connsiteX10" fmla="*/ 31376 w 1156465"/>
                <a:gd name="connsiteY10" fmla="*/ 0 h 22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65" h="2250178">
                  <a:moveTo>
                    <a:pt x="31376" y="0"/>
                  </a:moveTo>
                  <a:cubicBezTo>
                    <a:pt x="652745" y="0"/>
                    <a:pt x="1156465" y="503720"/>
                    <a:pt x="1156465" y="1125089"/>
                  </a:cubicBezTo>
                  <a:cubicBezTo>
                    <a:pt x="1156465" y="1746458"/>
                    <a:pt x="652745" y="2250178"/>
                    <a:pt x="31376" y="2250178"/>
                  </a:cubicBezTo>
                  <a:lnTo>
                    <a:pt x="0" y="2248594"/>
                  </a:lnTo>
                  <a:lnTo>
                    <a:pt x="0" y="2049112"/>
                  </a:lnTo>
                  <a:lnTo>
                    <a:pt x="31376" y="2050696"/>
                  </a:lnTo>
                  <a:cubicBezTo>
                    <a:pt x="542575" y="2050696"/>
                    <a:pt x="956983" y="1636288"/>
                    <a:pt x="956983" y="1125089"/>
                  </a:cubicBezTo>
                  <a:cubicBezTo>
                    <a:pt x="956983" y="613890"/>
                    <a:pt x="542575" y="199482"/>
                    <a:pt x="31376" y="199482"/>
                  </a:cubicBezTo>
                  <a:lnTo>
                    <a:pt x="0" y="201066"/>
                  </a:lnTo>
                  <a:lnTo>
                    <a:pt x="0" y="1584"/>
                  </a:lnTo>
                  <a:lnTo>
                    <a:pt x="31376" y="0"/>
                  </a:lnTo>
                  <a:close/>
                </a:path>
              </a:pathLst>
            </a:custGeom>
            <a:gradFill>
              <a:gsLst>
                <a:gs pos="100000">
                  <a:schemeClr val="accent1">
                    <a:lumMod val="5000"/>
                    <a:lumOff val="95000"/>
                    <a:alpha val="13000"/>
                  </a:schemeClr>
                </a:gs>
                <a:gs pos="0">
                  <a:schemeClr val="accent2">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5BC842C1-1787-288B-1AD1-C39707825A7C}"/>
                </a:ext>
              </a:extLst>
            </p:cNvPr>
            <p:cNvSpPr/>
            <p:nvPr/>
          </p:nvSpPr>
          <p:spPr>
            <a:xfrm>
              <a:off x="5999596" y="332118"/>
              <a:ext cx="1093713" cy="2247010"/>
            </a:xfrm>
            <a:custGeom>
              <a:avLst/>
              <a:gdLst>
                <a:gd name="connsiteX0" fmla="*/ 1093713 w 1093713"/>
                <a:gd name="connsiteY0" fmla="*/ 0 h 2247010"/>
                <a:gd name="connsiteX1" fmla="*/ 1093713 w 1093713"/>
                <a:gd name="connsiteY1" fmla="*/ 199482 h 2247010"/>
                <a:gd name="connsiteX2" fmla="*/ 1030451 w 1093713"/>
                <a:gd name="connsiteY2" fmla="*/ 202677 h 2247010"/>
                <a:gd name="connsiteX3" fmla="*/ 199482 w 1093713"/>
                <a:gd name="connsiteY3" fmla="*/ 1123505 h 2247010"/>
                <a:gd name="connsiteX4" fmla="*/ 1030451 w 1093713"/>
                <a:gd name="connsiteY4" fmla="*/ 2044333 h 2247010"/>
                <a:gd name="connsiteX5" fmla="*/ 1093713 w 1093713"/>
                <a:gd name="connsiteY5" fmla="*/ 2047528 h 2247010"/>
                <a:gd name="connsiteX6" fmla="*/ 1093713 w 1093713"/>
                <a:gd name="connsiteY6" fmla="*/ 2247010 h 2247010"/>
                <a:gd name="connsiteX7" fmla="*/ 1010055 w 1093713"/>
                <a:gd name="connsiteY7" fmla="*/ 2242785 h 2247010"/>
                <a:gd name="connsiteX8" fmla="*/ 0 w 1093713"/>
                <a:gd name="connsiteY8" fmla="*/ 1123505 h 2247010"/>
                <a:gd name="connsiteX9" fmla="*/ 1010055 w 1093713"/>
                <a:gd name="connsiteY9" fmla="*/ 4225 h 2247010"/>
                <a:gd name="connsiteX10" fmla="*/ 1093713 w 1093713"/>
                <a:gd name="connsiteY10" fmla="*/ 0 h 224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713" h="2247010">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extLst>
      <p:ext uri="{BB962C8B-B14F-4D97-AF65-F5344CB8AC3E}">
        <p14:creationId xmlns:p14="http://schemas.microsoft.com/office/powerpoint/2010/main" val="4185515585"/>
      </p:ext>
    </p:extLst>
  </p:cSld>
  <p:clrMapOvr>
    <a:masterClrMapping/>
  </p:clrMapOvr>
  <p:hf hdr="0" ftr="0" dt="0"/>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0D724-45CA-4BDE-FF2C-46C66231C75B}"/>
              </a:ext>
            </a:extLst>
          </p:cNvPr>
          <p:cNvSpPr/>
          <p:nvPr userDrawn="1"/>
        </p:nvSpPr>
        <p:spPr>
          <a:xfrm>
            <a:off x="0" y="151619"/>
            <a:ext cx="12192000" cy="593236"/>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p:cNvSpPr>
            <a:spLocks noGrp="1"/>
          </p:cNvSpPr>
          <p:nvPr>
            <p:ph type="title"/>
          </p:nvPr>
        </p:nvSpPr>
        <p:spPr>
          <a:xfrm>
            <a:off x="339944" y="264622"/>
            <a:ext cx="9853135" cy="458670"/>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sp>
        <p:nvSpPr>
          <p:cNvPr id="20" name="Content Placeholder 7"/>
          <p:cNvSpPr>
            <a:spLocks noGrp="1"/>
          </p:cNvSpPr>
          <p:nvPr>
            <p:ph sz="quarter" idx="10"/>
          </p:nvPr>
        </p:nvSpPr>
        <p:spPr>
          <a:xfrm>
            <a:off x="976214" y="1238081"/>
            <a:ext cx="10563057"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3220608E-3D04-17D5-CF1B-53F5E144C03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
        <p:nvSpPr>
          <p:cNvPr id="19" name="Oval 18">
            <a:extLst>
              <a:ext uri="{FF2B5EF4-FFF2-40B4-BE49-F238E27FC236}">
                <a16:creationId xmlns:a16="http://schemas.microsoft.com/office/drawing/2014/main" id="{B027F7EB-714F-5491-2AF0-3C9FC7B8BE18}"/>
              </a:ext>
            </a:extLst>
          </p:cNvPr>
          <p:cNvSpPr/>
          <p:nvPr userDrawn="1"/>
        </p:nvSpPr>
        <p:spPr>
          <a:xfrm>
            <a:off x="11193632" y="152521"/>
            <a:ext cx="612598" cy="612598"/>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77AD91AA-1815-524E-9F7C-ADDB15AD9213}"/>
              </a:ext>
            </a:extLst>
          </p:cNvPr>
          <p:cNvSpPr txBox="1"/>
          <p:nvPr userDrawn="1"/>
        </p:nvSpPr>
        <p:spPr>
          <a:xfrm>
            <a:off x="11209405" y="278960"/>
            <a:ext cx="602539" cy="338554"/>
          </a:xfrm>
          <a:prstGeom prst="rect">
            <a:avLst/>
          </a:prstGeom>
          <a:noFill/>
        </p:spPr>
        <p:txBody>
          <a:bodyPr wrap="square" rtlCol="0">
            <a:spAutoFit/>
          </a:bodyPr>
          <a:lstStyle/>
          <a:p>
            <a:pPr algn="ctr"/>
            <a:fld id="{48FD5EFF-1725-415C-94D6-8EEBD16210EC}" type="slidenum">
              <a:rPr lang="en-US" sz="1600" b="1" smtClean="0">
                <a:solidFill>
                  <a:srgbClr val="00A88E"/>
                </a:solidFill>
                <a:latin typeface="Century Gothic" charset="0"/>
                <a:ea typeface="Century Gothic" charset="0"/>
                <a:cs typeface="Century Gothic" charset="0"/>
              </a:rPr>
              <a:t>‹#›</a:t>
            </a:fld>
            <a:endParaRPr lang="en-US" sz="1600" b="1" dirty="0">
              <a:solidFill>
                <a:srgbClr val="00A88E"/>
              </a:solidFill>
              <a:latin typeface="Century Gothic" charset="0"/>
              <a:ea typeface="Century Gothic" charset="0"/>
              <a:cs typeface="Century Gothic" charset="0"/>
            </a:endParaRPr>
          </a:p>
        </p:txBody>
      </p:sp>
      <p:grpSp>
        <p:nvGrpSpPr>
          <p:cNvPr id="22" name="Group 21">
            <a:extLst>
              <a:ext uri="{FF2B5EF4-FFF2-40B4-BE49-F238E27FC236}">
                <a16:creationId xmlns:a16="http://schemas.microsoft.com/office/drawing/2014/main" id="{663CFBF9-076A-7471-B60A-6DA625DEC990}"/>
              </a:ext>
            </a:extLst>
          </p:cNvPr>
          <p:cNvGrpSpPr/>
          <p:nvPr userDrawn="1"/>
        </p:nvGrpSpPr>
        <p:grpSpPr>
          <a:xfrm>
            <a:off x="11068049" y="25579"/>
            <a:ext cx="866595" cy="866595"/>
            <a:chOff x="5999596" y="330534"/>
            <a:chExt cx="2250178" cy="2250178"/>
          </a:xfrm>
        </p:grpSpPr>
        <p:sp>
          <p:nvSpPr>
            <p:cNvPr id="23" name="Freeform 22">
              <a:extLst>
                <a:ext uri="{FF2B5EF4-FFF2-40B4-BE49-F238E27FC236}">
                  <a16:creationId xmlns:a16="http://schemas.microsoft.com/office/drawing/2014/main" id="{C961D866-CDB2-0E12-94EE-A33074C06D77}"/>
                </a:ext>
              </a:extLst>
            </p:cNvPr>
            <p:cNvSpPr/>
            <p:nvPr/>
          </p:nvSpPr>
          <p:spPr>
            <a:xfrm>
              <a:off x="7093309" y="530016"/>
              <a:ext cx="956983" cy="1851214"/>
            </a:xfrm>
            <a:custGeom>
              <a:avLst/>
              <a:gdLst>
                <a:gd name="connsiteX0" fmla="*/ 31376 w 956983"/>
                <a:gd name="connsiteY0" fmla="*/ 0 h 1851214"/>
                <a:gd name="connsiteX1" fmla="*/ 956983 w 956983"/>
                <a:gd name="connsiteY1" fmla="*/ 925607 h 1851214"/>
                <a:gd name="connsiteX2" fmla="*/ 31376 w 956983"/>
                <a:gd name="connsiteY2" fmla="*/ 1851214 h 1851214"/>
                <a:gd name="connsiteX3" fmla="*/ 0 w 956983"/>
                <a:gd name="connsiteY3" fmla="*/ 1849630 h 1851214"/>
                <a:gd name="connsiteX4" fmla="*/ 0 w 956983"/>
                <a:gd name="connsiteY4" fmla="*/ 1690506 h 1851214"/>
                <a:gd name="connsiteX5" fmla="*/ 31376 w 956983"/>
                <a:gd name="connsiteY5" fmla="*/ 1692090 h 1851214"/>
                <a:gd name="connsiteX6" fmla="*/ 797859 w 956983"/>
                <a:gd name="connsiteY6" fmla="*/ 925607 h 1851214"/>
                <a:gd name="connsiteX7" fmla="*/ 31376 w 956983"/>
                <a:gd name="connsiteY7" fmla="*/ 159124 h 1851214"/>
                <a:gd name="connsiteX8" fmla="*/ 0 w 956983"/>
                <a:gd name="connsiteY8" fmla="*/ 160708 h 1851214"/>
                <a:gd name="connsiteX9" fmla="*/ 0 w 956983"/>
                <a:gd name="connsiteY9" fmla="*/ 1584 h 1851214"/>
                <a:gd name="connsiteX10" fmla="*/ 31376 w 956983"/>
                <a:gd name="connsiteY10" fmla="*/ 0 h 185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983" h="1851214">
                  <a:moveTo>
                    <a:pt x="31376" y="0"/>
                  </a:moveTo>
                  <a:cubicBezTo>
                    <a:pt x="542575" y="0"/>
                    <a:pt x="956983" y="414408"/>
                    <a:pt x="956983" y="925607"/>
                  </a:cubicBezTo>
                  <a:cubicBezTo>
                    <a:pt x="956983" y="1436806"/>
                    <a:pt x="542575" y="1851214"/>
                    <a:pt x="31376" y="1851214"/>
                  </a:cubicBezTo>
                  <a:lnTo>
                    <a:pt x="0" y="1849630"/>
                  </a:lnTo>
                  <a:lnTo>
                    <a:pt x="0" y="1690506"/>
                  </a:lnTo>
                  <a:lnTo>
                    <a:pt x="31376" y="1692090"/>
                  </a:lnTo>
                  <a:cubicBezTo>
                    <a:pt x="454693" y="1692090"/>
                    <a:pt x="797859" y="1348924"/>
                    <a:pt x="797859" y="925607"/>
                  </a:cubicBezTo>
                  <a:cubicBezTo>
                    <a:pt x="797859" y="502290"/>
                    <a:pt x="454693" y="159124"/>
                    <a:pt x="31376" y="159124"/>
                  </a:cubicBezTo>
                  <a:lnTo>
                    <a:pt x="0" y="160708"/>
                  </a:lnTo>
                  <a:lnTo>
                    <a:pt x="0" y="1584"/>
                  </a:lnTo>
                  <a:lnTo>
                    <a:pt x="31376" y="0"/>
                  </a:lnTo>
                  <a:close/>
                </a:path>
              </a:pathLst>
            </a:custGeom>
            <a:gradFill>
              <a:gsLst>
                <a:gs pos="91000">
                  <a:schemeClr val="accent2">
                    <a:alpha val="25000"/>
                  </a:schemeClr>
                </a:gs>
                <a:gs pos="0">
                  <a:schemeClr val="accent2">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23">
              <a:extLst>
                <a:ext uri="{FF2B5EF4-FFF2-40B4-BE49-F238E27FC236}">
                  <a16:creationId xmlns:a16="http://schemas.microsoft.com/office/drawing/2014/main" id="{5B7DEDAB-0321-9C79-5FA7-F5C2CA80B56E}"/>
                </a:ext>
              </a:extLst>
            </p:cNvPr>
            <p:cNvSpPr/>
            <p:nvPr/>
          </p:nvSpPr>
          <p:spPr>
            <a:xfrm>
              <a:off x="6199078" y="531600"/>
              <a:ext cx="894231" cy="1848046"/>
            </a:xfrm>
            <a:custGeom>
              <a:avLst/>
              <a:gdLst>
                <a:gd name="connsiteX0" fmla="*/ 894231 w 894231"/>
                <a:gd name="connsiteY0" fmla="*/ 0 h 1848046"/>
                <a:gd name="connsiteX1" fmla="*/ 894231 w 894231"/>
                <a:gd name="connsiteY1" fmla="*/ 159124 h 1848046"/>
                <a:gd name="connsiteX2" fmla="*/ 847239 w 894231"/>
                <a:gd name="connsiteY2" fmla="*/ 161497 h 1848046"/>
                <a:gd name="connsiteX3" fmla="*/ 159124 w 894231"/>
                <a:gd name="connsiteY3" fmla="*/ 924023 h 1848046"/>
                <a:gd name="connsiteX4" fmla="*/ 847239 w 894231"/>
                <a:gd name="connsiteY4" fmla="*/ 1686549 h 1848046"/>
                <a:gd name="connsiteX5" fmla="*/ 894231 w 894231"/>
                <a:gd name="connsiteY5" fmla="*/ 1688922 h 1848046"/>
                <a:gd name="connsiteX6" fmla="*/ 894231 w 894231"/>
                <a:gd name="connsiteY6" fmla="*/ 1848046 h 1848046"/>
                <a:gd name="connsiteX7" fmla="*/ 830969 w 894231"/>
                <a:gd name="connsiteY7" fmla="*/ 1844851 h 1848046"/>
                <a:gd name="connsiteX8" fmla="*/ 0 w 894231"/>
                <a:gd name="connsiteY8" fmla="*/ 924023 h 1848046"/>
                <a:gd name="connsiteX9" fmla="*/ 830969 w 894231"/>
                <a:gd name="connsiteY9" fmla="*/ 3195 h 1848046"/>
                <a:gd name="connsiteX10" fmla="*/ 894231 w 894231"/>
                <a:gd name="connsiteY10" fmla="*/ 0 h 184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231" h="1848046">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Freeform 24">
              <a:extLst>
                <a:ext uri="{FF2B5EF4-FFF2-40B4-BE49-F238E27FC236}">
                  <a16:creationId xmlns:a16="http://schemas.microsoft.com/office/drawing/2014/main" id="{A3554393-8F62-8C68-69EA-E3DC8B0643FD}"/>
                </a:ext>
              </a:extLst>
            </p:cNvPr>
            <p:cNvSpPr/>
            <p:nvPr/>
          </p:nvSpPr>
          <p:spPr>
            <a:xfrm>
              <a:off x="7093309" y="330534"/>
              <a:ext cx="1156465" cy="2250178"/>
            </a:xfrm>
            <a:custGeom>
              <a:avLst/>
              <a:gdLst>
                <a:gd name="connsiteX0" fmla="*/ 31376 w 1156465"/>
                <a:gd name="connsiteY0" fmla="*/ 0 h 2250178"/>
                <a:gd name="connsiteX1" fmla="*/ 1156465 w 1156465"/>
                <a:gd name="connsiteY1" fmla="*/ 1125089 h 2250178"/>
                <a:gd name="connsiteX2" fmla="*/ 31376 w 1156465"/>
                <a:gd name="connsiteY2" fmla="*/ 2250178 h 2250178"/>
                <a:gd name="connsiteX3" fmla="*/ 0 w 1156465"/>
                <a:gd name="connsiteY3" fmla="*/ 2248594 h 2250178"/>
                <a:gd name="connsiteX4" fmla="*/ 0 w 1156465"/>
                <a:gd name="connsiteY4" fmla="*/ 2049112 h 2250178"/>
                <a:gd name="connsiteX5" fmla="*/ 31376 w 1156465"/>
                <a:gd name="connsiteY5" fmla="*/ 2050696 h 2250178"/>
                <a:gd name="connsiteX6" fmla="*/ 956983 w 1156465"/>
                <a:gd name="connsiteY6" fmla="*/ 1125089 h 2250178"/>
                <a:gd name="connsiteX7" fmla="*/ 31376 w 1156465"/>
                <a:gd name="connsiteY7" fmla="*/ 199482 h 2250178"/>
                <a:gd name="connsiteX8" fmla="*/ 0 w 1156465"/>
                <a:gd name="connsiteY8" fmla="*/ 201066 h 2250178"/>
                <a:gd name="connsiteX9" fmla="*/ 0 w 1156465"/>
                <a:gd name="connsiteY9" fmla="*/ 1584 h 2250178"/>
                <a:gd name="connsiteX10" fmla="*/ 31376 w 1156465"/>
                <a:gd name="connsiteY10" fmla="*/ 0 h 22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65" h="2250178">
                  <a:moveTo>
                    <a:pt x="31376" y="0"/>
                  </a:moveTo>
                  <a:cubicBezTo>
                    <a:pt x="652745" y="0"/>
                    <a:pt x="1156465" y="503720"/>
                    <a:pt x="1156465" y="1125089"/>
                  </a:cubicBezTo>
                  <a:cubicBezTo>
                    <a:pt x="1156465" y="1746458"/>
                    <a:pt x="652745" y="2250178"/>
                    <a:pt x="31376" y="2250178"/>
                  </a:cubicBezTo>
                  <a:lnTo>
                    <a:pt x="0" y="2248594"/>
                  </a:lnTo>
                  <a:lnTo>
                    <a:pt x="0" y="2049112"/>
                  </a:lnTo>
                  <a:lnTo>
                    <a:pt x="31376" y="2050696"/>
                  </a:lnTo>
                  <a:cubicBezTo>
                    <a:pt x="542575" y="2050696"/>
                    <a:pt x="956983" y="1636288"/>
                    <a:pt x="956983" y="1125089"/>
                  </a:cubicBezTo>
                  <a:cubicBezTo>
                    <a:pt x="956983" y="613890"/>
                    <a:pt x="542575" y="199482"/>
                    <a:pt x="31376" y="199482"/>
                  </a:cubicBezTo>
                  <a:lnTo>
                    <a:pt x="0" y="201066"/>
                  </a:lnTo>
                  <a:lnTo>
                    <a:pt x="0" y="1584"/>
                  </a:lnTo>
                  <a:lnTo>
                    <a:pt x="31376" y="0"/>
                  </a:lnTo>
                  <a:close/>
                </a:path>
              </a:pathLst>
            </a:custGeom>
            <a:gradFill>
              <a:gsLst>
                <a:gs pos="100000">
                  <a:schemeClr val="accent1">
                    <a:lumMod val="5000"/>
                    <a:lumOff val="95000"/>
                    <a:alpha val="13000"/>
                  </a:schemeClr>
                </a:gs>
                <a:gs pos="0">
                  <a:schemeClr val="accent2">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25">
              <a:extLst>
                <a:ext uri="{FF2B5EF4-FFF2-40B4-BE49-F238E27FC236}">
                  <a16:creationId xmlns:a16="http://schemas.microsoft.com/office/drawing/2014/main" id="{5BC842C1-1787-288B-1AD1-C39707825A7C}"/>
                </a:ext>
              </a:extLst>
            </p:cNvPr>
            <p:cNvSpPr/>
            <p:nvPr/>
          </p:nvSpPr>
          <p:spPr>
            <a:xfrm>
              <a:off x="5999596" y="332118"/>
              <a:ext cx="1093713" cy="2247010"/>
            </a:xfrm>
            <a:custGeom>
              <a:avLst/>
              <a:gdLst>
                <a:gd name="connsiteX0" fmla="*/ 1093713 w 1093713"/>
                <a:gd name="connsiteY0" fmla="*/ 0 h 2247010"/>
                <a:gd name="connsiteX1" fmla="*/ 1093713 w 1093713"/>
                <a:gd name="connsiteY1" fmla="*/ 199482 h 2247010"/>
                <a:gd name="connsiteX2" fmla="*/ 1030451 w 1093713"/>
                <a:gd name="connsiteY2" fmla="*/ 202677 h 2247010"/>
                <a:gd name="connsiteX3" fmla="*/ 199482 w 1093713"/>
                <a:gd name="connsiteY3" fmla="*/ 1123505 h 2247010"/>
                <a:gd name="connsiteX4" fmla="*/ 1030451 w 1093713"/>
                <a:gd name="connsiteY4" fmla="*/ 2044333 h 2247010"/>
                <a:gd name="connsiteX5" fmla="*/ 1093713 w 1093713"/>
                <a:gd name="connsiteY5" fmla="*/ 2047528 h 2247010"/>
                <a:gd name="connsiteX6" fmla="*/ 1093713 w 1093713"/>
                <a:gd name="connsiteY6" fmla="*/ 2247010 h 2247010"/>
                <a:gd name="connsiteX7" fmla="*/ 1010055 w 1093713"/>
                <a:gd name="connsiteY7" fmla="*/ 2242785 h 2247010"/>
                <a:gd name="connsiteX8" fmla="*/ 0 w 1093713"/>
                <a:gd name="connsiteY8" fmla="*/ 1123505 h 2247010"/>
                <a:gd name="connsiteX9" fmla="*/ 1010055 w 1093713"/>
                <a:gd name="connsiteY9" fmla="*/ 4225 h 2247010"/>
                <a:gd name="connsiteX10" fmla="*/ 1093713 w 1093713"/>
                <a:gd name="connsiteY10" fmla="*/ 0 h 224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713" h="2247010">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extLst>
      <p:ext uri="{BB962C8B-B14F-4D97-AF65-F5344CB8AC3E}">
        <p14:creationId xmlns:p14="http://schemas.microsoft.com/office/powerpoint/2010/main" val="259868992"/>
      </p:ext>
    </p:extLst>
  </p:cSld>
  <p:clrMapOvr>
    <a:masterClrMapping/>
  </p:clrMapOvr>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0D724-45CA-4BDE-FF2C-46C66231C75B}"/>
              </a:ext>
            </a:extLst>
          </p:cNvPr>
          <p:cNvSpPr/>
          <p:nvPr userDrawn="1"/>
        </p:nvSpPr>
        <p:spPr>
          <a:xfrm>
            <a:off x="0" y="151618"/>
            <a:ext cx="12192000" cy="951475"/>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p:cNvSpPr>
            <a:spLocks noGrp="1"/>
          </p:cNvSpPr>
          <p:nvPr>
            <p:ph type="title" hasCustomPrompt="1"/>
          </p:nvPr>
        </p:nvSpPr>
        <p:spPr>
          <a:xfrm>
            <a:off x="339944" y="263324"/>
            <a:ext cx="9853135" cy="824749"/>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br>
              <a:rPr lang="en-US" dirty="0"/>
            </a:br>
            <a:r>
              <a:rPr lang="en-US" dirty="0"/>
              <a:t>two line heading</a:t>
            </a:r>
          </a:p>
        </p:txBody>
      </p:sp>
      <p:sp>
        <p:nvSpPr>
          <p:cNvPr id="20" name="Content Placeholder 7"/>
          <p:cNvSpPr>
            <a:spLocks noGrp="1"/>
          </p:cNvSpPr>
          <p:nvPr>
            <p:ph sz="quarter" idx="10"/>
          </p:nvPr>
        </p:nvSpPr>
        <p:spPr>
          <a:xfrm>
            <a:off x="976214" y="1238081"/>
            <a:ext cx="10563057"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11676428-FF80-D4DE-7879-314156D5EB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
        <p:nvSpPr>
          <p:cNvPr id="19" name="Oval 18">
            <a:extLst>
              <a:ext uri="{FF2B5EF4-FFF2-40B4-BE49-F238E27FC236}">
                <a16:creationId xmlns:a16="http://schemas.microsoft.com/office/drawing/2014/main" id="{B027F7EB-714F-5491-2AF0-3C9FC7B8BE18}"/>
              </a:ext>
            </a:extLst>
          </p:cNvPr>
          <p:cNvSpPr/>
          <p:nvPr userDrawn="1"/>
        </p:nvSpPr>
        <p:spPr>
          <a:xfrm>
            <a:off x="11193632" y="152521"/>
            <a:ext cx="612598" cy="612598"/>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77AD91AA-1815-524E-9F7C-ADDB15AD9213}"/>
              </a:ext>
            </a:extLst>
          </p:cNvPr>
          <p:cNvSpPr txBox="1"/>
          <p:nvPr userDrawn="1"/>
        </p:nvSpPr>
        <p:spPr>
          <a:xfrm>
            <a:off x="11209405" y="278960"/>
            <a:ext cx="602539" cy="338554"/>
          </a:xfrm>
          <a:prstGeom prst="rect">
            <a:avLst/>
          </a:prstGeom>
          <a:noFill/>
        </p:spPr>
        <p:txBody>
          <a:bodyPr wrap="square" rtlCol="0">
            <a:spAutoFit/>
          </a:bodyPr>
          <a:lstStyle/>
          <a:p>
            <a:pPr algn="ctr"/>
            <a:fld id="{4221EA29-83A2-46D9-844D-FB9B6EE19677}" type="slidenum">
              <a:rPr lang="en-US" sz="1600" b="1" smtClean="0">
                <a:solidFill>
                  <a:srgbClr val="00A88E"/>
                </a:solidFill>
                <a:latin typeface="Century Gothic" charset="0"/>
                <a:ea typeface="Century Gothic" charset="0"/>
                <a:cs typeface="Century Gothic" charset="0"/>
              </a:rPr>
              <a:t>‹#›</a:t>
            </a:fld>
            <a:endParaRPr lang="en-US" sz="1600" b="1" dirty="0">
              <a:solidFill>
                <a:srgbClr val="00A88E"/>
              </a:solidFill>
              <a:latin typeface="Century Gothic" charset="0"/>
              <a:ea typeface="Century Gothic" charset="0"/>
              <a:cs typeface="Century Gothic" charset="0"/>
            </a:endParaRPr>
          </a:p>
        </p:txBody>
      </p:sp>
      <p:grpSp>
        <p:nvGrpSpPr>
          <p:cNvPr id="22" name="Group 21">
            <a:extLst>
              <a:ext uri="{FF2B5EF4-FFF2-40B4-BE49-F238E27FC236}">
                <a16:creationId xmlns:a16="http://schemas.microsoft.com/office/drawing/2014/main" id="{663CFBF9-076A-7471-B60A-6DA625DEC990}"/>
              </a:ext>
            </a:extLst>
          </p:cNvPr>
          <p:cNvGrpSpPr/>
          <p:nvPr userDrawn="1"/>
        </p:nvGrpSpPr>
        <p:grpSpPr>
          <a:xfrm>
            <a:off x="11068049" y="25579"/>
            <a:ext cx="866595" cy="866595"/>
            <a:chOff x="5999596" y="330534"/>
            <a:chExt cx="2250178" cy="2250178"/>
          </a:xfrm>
        </p:grpSpPr>
        <p:sp>
          <p:nvSpPr>
            <p:cNvPr id="23" name="Freeform 22">
              <a:extLst>
                <a:ext uri="{FF2B5EF4-FFF2-40B4-BE49-F238E27FC236}">
                  <a16:creationId xmlns:a16="http://schemas.microsoft.com/office/drawing/2014/main" id="{C961D866-CDB2-0E12-94EE-A33074C06D77}"/>
                </a:ext>
              </a:extLst>
            </p:cNvPr>
            <p:cNvSpPr/>
            <p:nvPr/>
          </p:nvSpPr>
          <p:spPr>
            <a:xfrm>
              <a:off x="7093309" y="530016"/>
              <a:ext cx="956983" cy="1851214"/>
            </a:xfrm>
            <a:custGeom>
              <a:avLst/>
              <a:gdLst>
                <a:gd name="connsiteX0" fmla="*/ 31376 w 956983"/>
                <a:gd name="connsiteY0" fmla="*/ 0 h 1851214"/>
                <a:gd name="connsiteX1" fmla="*/ 956983 w 956983"/>
                <a:gd name="connsiteY1" fmla="*/ 925607 h 1851214"/>
                <a:gd name="connsiteX2" fmla="*/ 31376 w 956983"/>
                <a:gd name="connsiteY2" fmla="*/ 1851214 h 1851214"/>
                <a:gd name="connsiteX3" fmla="*/ 0 w 956983"/>
                <a:gd name="connsiteY3" fmla="*/ 1849630 h 1851214"/>
                <a:gd name="connsiteX4" fmla="*/ 0 w 956983"/>
                <a:gd name="connsiteY4" fmla="*/ 1690506 h 1851214"/>
                <a:gd name="connsiteX5" fmla="*/ 31376 w 956983"/>
                <a:gd name="connsiteY5" fmla="*/ 1692090 h 1851214"/>
                <a:gd name="connsiteX6" fmla="*/ 797859 w 956983"/>
                <a:gd name="connsiteY6" fmla="*/ 925607 h 1851214"/>
                <a:gd name="connsiteX7" fmla="*/ 31376 w 956983"/>
                <a:gd name="connsiteY7" fmla="*/ 159124 h 1851214"/>
                <a:gd name="connsiteX8" fmla="*/ 0 w 956983"/>
                <a:gd name="connsiteY8" fmla="*/ 160708 h 1851214"/>
                <a:gd name="connsiteX9" fmla="*/ 0 w 956983"/>
                <a:gd name="connsiteY9" fmla="*/ 1584 h 1851214"/>
                <a:gd name="connsiteX10" fmla="*/ 31376 w 956983"/>
                <a:gd name="connsiteY10" fmla="*/ 0 h 185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983" h="1851214">
                  <a:moveTo>
                    <a:pt x="31376" y="0"/>
                  </a:moveTo>
                  <a:cubicBezTo>
                    <a:pt x="542575" y="0"/>
                    <a:pt x="956983" y="414408"/>
                    <a:pt x="956983" y="925607"/>
                  </a:cubicBezTo>
                  <a:cubicBezTo>
                    <a:pt x="956983" y="1436806"/>
                    <a:pt x="542575" y="1851214"/>
                    <a:pt x="31376" y="1851214"/>
                  </a:cubicBezTo>
                  <a:lnTo>
                    <a:pt x="0" y="1849630"/>
                  </a:lnTo>
                  <a:lnTo>
                    <a:pt x="0" y="1690506"/>
                  </a:lnTo>
                  <a:lnTo>
                    <a:pt x="31376" y="1692090"/>
                  </a:lnTo>
                  <a:cubicBezTo>
                    <a:pt x="454693" y="1692090"/>
                    <a:pt x="797859" y="1348924"/>
                    <a:pt x="797859" y="925607"/>
                  </a:cubicBezTo>
                  <a:cubicBezTo>
                    <a:pt x="797859" y="502290"/>
                    <a:pt x="454693" y="159124"/>
                    <a:pt x="31376" y="159124"/>
                  </a:cubicBezTo>
                  <a:lnTo>
                    <a:pt x="0" y="160708"/>
                  </a:lnTo>
                  <a:lnTo>
                    <a:pt x="0" y="1584"/>
                  </a:lnTo>
                  <a:lnTo>
                    <a:pt x="31376" y="0"/>
                  </a:lnTo>
                  <a:close/>
                </a:path>
              </a:pathLst>
            </a:custGeom>
            <a:gradFill>
              <a:gsLst>
                <a:gs pos="91000">
                  <a:schemeClr val="accent2">
                    <a:alpha val="25000"/>
                  </a:schemeClr>
                </a:gs>
                <a:gs pos="0">
                  <a:schemeClr val="accent2">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23">
              <a:extLst>
                <a:ext uri="{FF2B5EF4-FFF2-40B4-BE49-F238E27FC236}">
                  <a16:creationId xmlns:a16="http://schemas.microsoft.com/office/drawing/2014/main" id="{5B7DEDAB-0321-9C79-5FA7-F5C2CA80B56E}"/>
                </a:ext>
              </a:extLst>
            </p:cNvPr>
            <p:cNvSpPr/>
            <p:nvPr/>
          </p:nvSpPr>
          <p:spPr>
            <a:xfrm>
              <a:off x="6199078" y="531600"/>
              <a:ext cx="894231" cy="1848046"/>
            </a:xfrm>
            <a:custGeom>
              <a:avLst/>
              <a:gdLst>
                <a:gd name="connsiteX0" fmla="*/ 894231 w 894231"/>
                <a:gd name="connsiteY0" fmla="*/ 0 h 1848046"/>
                <a:gd name="connsiteX1" fmla="*/ 894231 w 894231"/>
                <a:gd name="connsiteY1" fmla="*/ 159124 h 1848046"/>
                <a:gd name="connsiteX2" fmla="*/ 847239 w 894231"/>
                <a:gd name="connsiteY2" fmla="*/ 161497 h 1848046"/>
                <a:gd name="connsiteX3" fmla="*/ 159124 w 894231"/>
                <a:gd name="connsiteY3" fmla="*/ 924023 h 1848046"/>
                <a:gd name="connsiteX4" fmla="*/ 847239 w 894231"/>
                <a:gd name="connsiteY4" fmla="*/ 1686549 h 1848046"/>
                <a:gd name="connsiteX5" fmla="*/ 894231 w 894231"/>
                <a:gd name="connsiteY5" fmla="*/ 1688922 h 1848046"/>
                <a:gd name="connsiteX6" fmla="*/ 894231 w 894231"/>
                <a:gd name="connsiteY6" fmla="*/ 1848046 h 1848046"/>
                <a:gd name="connsiteX7" fmla="*/ 830969 w 894231"/>
                <a:gd name="connsiteY7" fmla="*/ 1844851 h 1848046"/>
                <a:gd name="connsiteX8" fmla="*/ 0 w 894231"/>
                <a:gd name="connsiteY8" fmla="*/ 924023 h 1848046"/>
                <a:gd name="connsiteX9" fmla="*/ 830969 w 894231"/>
                <a:gd name="connsiteY9" fmla="*/ 3195 h 1848046"/>
                <a:gd name="connsiteX10" fmla="*/ 894231 w 894231"/>
                <a:gd name="connsiteY10" fmla="*/ 0 h 184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231" h="1848046">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Freeform 24">
              <a:extLst>
                <a:ext uri="{FF2B5EF4-FFF2-40B4-BE49-F238E27FC236}">
                  <a16:creationId xmlns:a16="http://schemas.microsoft.com/office/drawing/2014/main" id="{A3554393-8F62-8C68-69EA-E3DC8B0643FD}"/>
                </a:ext>
              </a:extLst>
            </p:cNvPr>
            <p:cNvSpPr/>
            <p:nvPr/>
          </p:nvSpPr>
          <p:spPr>
            <a:xfrm>
              <a:off x="7093309" y="330534"/>
              <a:ext cx="1156465" cy="2250178"/>
            </a:xfrm>
            <a:custGeom>
              <a:avLst/>
              <a:gdLst>
                <a:gd name="connsiteX0" fmla="*/ 31376 w 1156465"/>
                <a:gd name="connsiteY0" fmla="*/ 0 h 2250178"/>
                <a:gd name="connsiteX1" fmla="*/ 1156465 w 1156465"/>
                <a:gd name="connsiteY1" fmla="*/ 1125089 h 2250178"/>
                <a:gd name="connsiteX2" fmla="*/ 31376 w 1156465"/>
                <a:gd name="connsiteY2" fmla="*/ 2250178 h 2250178"/>
                <a:gd name="connsiteX3" fmla="*/ 0 w 1156465"/>
                <a:gd name="connsiteY3" fmla="*/ 2248594 h 2250178"/>
                <a:gd name="connsiteX4" fmla="*/ 0 w 1156465"/>
                <a:gd name="connsiteY4" fmla="*/ 2049112 h 2250178"/>
                <a:gd name="connsiteX5" fmla="*/ 31376 w 1156465"/>
                <a:gd name="connsiteY5" fmla="*/ 2050696 h 2250178"/>
                <a:gd name="connsiteX6" fmla="*/ 956983 w 1156465"/>
                <a:gd name="connsiteY6" fmla="*/ 1125089 h 2250178"/>
                <a:gd name="connsiteX7" fmla="*/ 31376 w 1156465"/>
                <a:gd name="connsiteY7" fmla="*/ 199482 h 2250178"/>
                <a:gd name="connsiteX8" fmla="*/ 0 w 1156465"/>
                <a:gd name="connsiteY8" fmla="*/ 201066 h 2250178"/>
                <a:gd name="connsiteX9" fmla="*/ 0 w 1156465"/>
                <a:gd name="connsiteY9" fmla="*/ 1584 h 2250178"/>
                <a:gd name="connsiteX10" fmla="*/ 31376 w 1156465"/>
                <a:gd name="connsiteY10" fmla="*/ 0 h 22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65" h="2250178">
                  <a:moveTo>
                    <a:pt x="31376" y="0"/>
                  </a:moveTo>
                  <a:cubicBezTo>
                    <a:pt x="652745" y="0"/>
                    <a:pt x="1156465" y="503720"/>
                    <a:pt x="1156465" y="1125089"/>
                  </a:cubicBezTo>
                  <a:cubicBezTo>
                    <a:pt x="1156465" y="1746458"/>
                    <a:pt x="652745" y="2250178"/>
                    <a:pt x="31376" y="2250178"/>
                  </a:cubicBezTo>
                  <a:lnTo>
                    <a:pt x="0" y="2248594"/>
                  </a:lnTo>
                  <a:lnTo>
                    <a:pt x="0" y="2049112"/>
                  </a:lnTo>
                  <a:lnTo>
                    <a:pt x="31376" y="2050696"/>
                  </a:lnTo>
                  <a:cubicBezTo>
                    <a:pt x="542575" y="2050696"/>
                    <a:pt x="956983" y="1636288"/>
                    <a:pt x="956983" y="1125089"/>
                  </a:cubicBezTo>
                  <a:cubicBezTo>
                    <a:pt x="956983" y="613890"/>
                    <a:pt x="542575" y="199482"/>
                    <a:pt x="31376" y="199482"/>
                  </a:cubicBezTo>
                  <a:lnTo>
                    <a:pt x="0" y="201066"/>
                  </a:lnTo>
                  <a:lnTo>
                    <a:pt x="0" y="1584"/>
                  </a:lnTo>
                  <a:lnTo>
                    <a:pt x="31376" y="0"/>
                  </a:lnTo>
                  <a:close/>
                </a:path>
              </a:pathLst>
            </a:custGeom>
            <a:gradFill>
              <a:gsLst>
                <a:gs pos="100000">
                  <a:schemeClr val="accent1">
                    <a:lumMod val="5000"/>
                    <a:lumOff val="95000"/>
                    <a:alpha val="13000"/>
                  </a:schemeClr>
                </a:gs>
                <a:gs pos="0">
                  <a:schemeClr val="accent2">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25">
              <a:extLst>
                <a:ext uri="{FF2B5EF4-FFF2-40B4-BE49-F238E27FC236}">
                  <a16:creationId xmlns:a16="http://schemas.microsoft.com/office/drawing/2014/main" id="{5BC842C1-1787-288B-1AD1-C39707825A7C}"/>
                </a:ext>
              </a:extLst>
            </p:cNvPr>
            <p:cNvSpPr/>
            <p:nvPr/>
          </p:nvSpPr>
          <p:spPr>
            <a:xfrm>
              <a:off x="5999596" y="332118"/>
              <a:ext cx="1093713" cy="2247010"/>
            </a:xfrm>
            <a:custGeom>
              <a:avLst/>
              <a:gdLst>
                <a:gd name="connsiteX0" fmla="*/ 1093713 w 1093713"/>
                <a:gd name="connsiteY0" fmla="*/ 0 h 2247010"/>
                <a:gd name="connsiteX1" fmla="*/ 1093713 w 1093713"/>
                <a:gd name="connsiteY1" fmla="*/ 199482 h 2247010"/>
                <a:gd name="connsiteX2" fmla="*/ 1030451 w 1093713"/>
                <a:gd name="connsiteY2" fmla="*/ 202677 h 2247010"/>
                <a:gd name="connsiteX3" fmla="*/ 199482 w 1093713"/>
                <a:gd name="connsiteY3" fmla="*/ 1123505 h 2247010"/>
                <a:gd name="connsiteX4" fmla="*/ 1030451 w 1093713"/>
                <a:gd name="connsiteY4" fmla="*/ 2044333 h 2247010"/>
                <a:gd name="connsiteX5" fmla="*/ 1093713 w 1093713"/>
                <a:gd name="connsiteY5" fmla="*/ 2047528 h 2247010"/>
                <a:gd name="connsiteX6" fmla="*/ 1093713 w 1093713"/>
                <a:gd name="connsiteY6" fmla="*/ 2247010 h 2247010"/>
                <a:gd name="connsiteX7" fmla="*/ 1010055 w 1093713"/>
                <a:gd name="connsiteY7" fmla="*/ 2242785 h 2247010"/>
                <a:gd name="connsiteX8" fmla="*/ 0 w 1093713"/>
                <a:gd name="connsiteY8" fmla="*/ 1123505 h 2247010"/>
                <a:gd name="connsiteX9" fmla="*/ 1010055 w 1093713"/>
                <a:gd name="connsiteY9" fmla="*/ 4225 h 2247010"/>
                <a:gd name="connsiteX10" fmla="*/ 1093713 w 1093713"/>
                <a:gd name="connsiteY10" fmla="*/ 0 h 224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713" h="2247010">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extLst>
      <p:ext uri="{BB962C8B-B14F-4D97-AF65-F5344CB8AC3E}">
        <p14:creationId xmlns:p14="http://schemas.microsoft.com/office/powerpoint/2010/main" val="1893832378"/>
      </p:ext>
    </p:extLst>
  </p:cSld>
  <p:clrMapOvr>
    <a:masterClrMapping/>
  </p:clrMapOvr>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7">
            <a:extLst>
              <a:ext uri="{FF2B5EF4-FFF2-40B4-BE49-F238E27FC236}">
                <a16:creationId xmlns:a16="http://schemas.microsoft.com/office/drawing/2014/main" id="{58F7D7D6-B9EE-FDF6-7FAF-C0F645B471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Tree>
    <p:extLst>
      <p:ext uri="{BB962C8B-B14F-4D97-AF65-F5344CB8AC3E}">
        <p14:creationId xmlns:p14="http://schemas.microsoft.com/office/powerpoint/2010/main" val="2595561492"/>
      </p:ext>
    </p:extLst>
  </p:cSld>
  <p:clrMapOvr>
    <a:masterClrMapping/>
  </p:clrMapOvr>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0D724-45CA-4BDE-FF2C-46C66231C75B}"/>
              </a:ext>
            </a:extLst>
          </p:cNvPr>
          <p:cNvSpPr/>
          <p:nvPr userDrawn="1"/>
        </p:nvSpPr>
        <p:spPr>
          <a:xfrm>
            <a:off x="0" y="151619"/>
            <a:ext cx="12192000" cy="593236"/>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p:cNvSpPr>
            <a:spLocks noGrp="1"/>
          </p:cNvSpPr>
          <p:nvPr>
            <p:ph type="title"/>
          </p:nvPr>
        </p:nvSpPr>
        <p:spPr>
          <a:xfrm>
            <a:off x="339944" y="263325"/>
            <a:ext cx="9853135" cy="458670"/>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sp>
        <p:nvSpPr>
          <p:cNvPr id="20" name="Content Placeholder 7"/>
          <p:cNvSpPr>
            <a:spLocks noGrp="1"/>
          </p:cNvSpPr>
          <p:nvPr>
            <p:ph sz="quarter" idx="10"/>
          </p:nvPr>
        </p:nvSpPr>
        <p:spPr>
          <a:xfrm>
            <a:off x="976214" y="1238081"/>
            <a:ext cx="10563057"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3220608E-3D04-17D5-CF1B-53F5E144C03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
        <p:nvSpPr>
          <p:cNvPr id="11" name="Oval 10">
            <a:extLst>
              <a:ext uri="{FF2B5EF4-FFF2-40B4-BE49-F238E27FC236}">
                <a16:creationId xmlns:a16="http://schemas.microsoft.com/office/drawing/2014/main" id="{B027F7EB-714F-5491-2AF0-3C9FC7B8BE18}"/>
              </a:ext>
            </a:extLst>
          </p:cNvPr>
          <p:cNvSpPr/>
          <p:nvPr userDrawn="1"/>
        </p:nvSpPr>
        <p:spPr>
          <a:xfrm>
            <a:off x="11193632" y="152521"/>
            <a:ext cx="612598" cy="612598"/>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77AD91AA-1815-524E-9F7C-ADDB15AD9213}"/>
              </a:ext>
            </a:extLst>
          </p:cNvPr>
          <p:cNvSpPr txBox="1"/>
          <p:nvPr userDrawn="1"/>
        </p:nvSpPr>
        <p:spPr>
          <a:xfrm>
            <a:off x="11209405" y="278960"/>
            <a:ext cx="602539" cy="338554"/>
          </a:xfrm>
          <a:prstGeom prst="rect">
            <a:avLst/>
          </a:prstGeom>
          <a:noFill/>
        </p:spPr>
        <p:txBody>
          <a:bodyPr wrap="square" rtlCol="0">
            <a:spAutoFit/>
          </a:bodyPr>
          <a:lstStyle/>
          <a:p>
            <a:pPr algn="ctr"/>
            <a:fld id="{799E4374-9EBD-49FA-B3D6-C8A54F92AAD7}" type="slidenum">
              <a:rPr lang="en-US" sz="1600" b="1" smtClean="0">
                <a:solidFill>
                  <a:srgbClr val="00A88E"/>
                </a:solidFill>
                <a:latin typeface="Century Gothic" charset="0"/>
                <a:ea typeface="Century Gothic" charset="0"/>
                <a:cs typeface="Century Gothic" charset="0"/>
              </a:rPr>
              <a:t>‹#›</a:t>
            </a:fld>
            <a:endParaRPr lang="en-US" sz="1600" b="1" dirty="0">
              <a:solidFill>
                <a:srgbClr val="00A88E"/>
              </a:solidFill>
              <a:latin typeface="Century Gothic" charset="0"/>
              <a:ea typeface="Century Gothic" charset="0"/>
              <a:cs typeface="Century Gothic" charset="0"/>
            </a:endParaRPr>
          </a:p>
        </p:txBody>
      </p:sp>
      <p:grpSp>
        <p:nvGrpSpPr>
          <p:cNvPr id="13" name="Group 12">
            <a:extLst>
              <a:ext uri="{FF2B5EF4-FFF2-40B4-BE49-F238E27FC236}">
                <a16:creationId xmlns:a16="http://schemas.microsoft.com/office/drawing/2014/main" id="{663CFBF9-076A-7471-B60A-6DA625DEC990}"/>
              </a:ext>
            </a:extLst>
          </p:cNvPr>
          <p:cNvGrpSpPr/>
          <p:nvPr userDrawn="1"/>
        </p:nvGrpSpPr>
        <p:grpSpPr>
          <a:xfrm>
            <a:off x="11068049" y="25579"/>
            <a:ext cx="866595" cy="866595"/>
            <a:chOff x="5999596" y="330534"/>
            <a:chExt cx="2250178" cy="2250178"/>
          </a:xfrm>
        </p:grpSpPr>
        <p:sp>
          <p:nvSpPr>
            <p:cNvPr id="14" name="Freeform 13">
              <a:extLst>
                <a:ext uri="{FF2B5EF4-FFF2-40B4-BE49-F238E27FC236}">
                  <a16:creationId xmlns:a16="http://schemas.microsoft.com/office/drawing/2014/main" id="{C961D866-CDB2-0E12-94EE-A33074C06D77}"/>
                </a:ext>
              </a:extLst>
            </p:cNvPr>
            <p:cNvSpPr/>
            <p:nvPr/>
          </p:nvSpPr>
          <p:spPr>
            <a:xfrm>
              <a:off x="7093309" y="530016"/>
              <a:ext cx="956983" cy="1851214"/>
            </a:xfrm>
            <a:custGeom>
              <a:avLst/>
              <a:gdLst>
                <a:gd name="connsiteX0" fmla="*/ 31376 w 956983"/>
                <a:gd name="connsiteY0" fmla="*/ 0 h 1851214"/>
                <a:gd name="connsiteX1" fmla="*/ 956983 w 956983"/>
                <a:gd name="connsiteY1" fmla="*/ 925607 h 1851214"/>
                <a:gd name="connsiteX2" fmla="*/ 31376 w 956983"/>
                <a:gd name="connsiteY2" fmla="*/ 1851214 h 1851214"/>
                <a:gd name="connsiteX3" fmla="*/ 0 w 956983"/>
                <a:gd name="connsiteY3" fmla="*/ 1849630 h 1851214"/>
                <a:gd name="connsiteX4" fmla="*/ 0 w 956983"/>
                <a:gd name="connsiteY4" fmla="*/ 1690506 h 1851214"/>
                <a:gd name="connsiteX5" fmla="*/ 31376 w 956983"/>
                <a:gd name="connsiteY5" fmla="*/ 1692090 h 1851214"/>
                <a:gd name="connsiteX6" fmla="*/ 797859 w 956983"/>
                <a:gd name="connsiteY6" fmla="*/ 925607 h 1851214"/>
                <a:gd name="connsiteX7" fmla="*/ 31376 w 956983"/>
                <a:gd name="connsiteY7" fmla="*/ 159124 h 1851214"/>
                <a:gd name="connsiteX8" fmla="*/ 0 w 956983"/>
                <a:gd name="connsiteY8" fmla="*/ 160708 h 1851214"/>
                <a:gd name="connsiteX9" fmla="*/ 0 w 956983"/>
                <a:gd name="connsiteY9" fmla="*/ 1584 h 1851214"/>
                <a:gd name="connsiteX10" fmla="*/ 31376 w 956983"/>
                <a:gd name="connsiteY10" fmla="*/ 0 h 185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983" h="1851214">
                  <a:moveTo>
                    <a:pt x="31376" y="0"/>
                  </a:moveTo>
                  <a:cubicBezTo>
                    <a:pt x="542575" y="0"/>
                    <a:pt x="956983" y="414408"/>
                    <a:pt x="956983" y="925607"/>
                  </a:cubicBezTo>
                  <a:cubicBezTo>
                    <a:pt x="956983" y="1436806"/>
                    <a:pt x="542575" y="1851214"/>
                    <a:pt x="31376" y="1851214"/>
                  </a:cubicBezTo>
                  <a:lnTo>
                    <a:pt x="0" y="1849630"/>
                  </a:lnTo>
                  <a:lnTo>
                    <a:pt x="0" y="1690506"/>
                  </a:lnTo>
                  <a:lnTo>
                    <a:pt x="31376" y="1692090"/>
                  </a:lnTo>
                  <a:cubicBezTo>
                    <a:pt x="454693" y="1692090"/>
                    <a:pt x="797859" y="1348924"/>
                    <a:pt x="797859" y="925607"/>
                  </a:cubicBezTo>
                  <a:cubicBezTo>
                    <a:pt x="797859" y="502290"/>
                    <a:pt x="454693" y="159124"/>
                    <a:pt x="31376" y="159124"/>
                  </a:cubicBezTo>
                  <a:lnTo>
                    <a:pt x="0" y="160708"/>
                  </a:lnTo>
                  <a:lnTo>
                    <a:pt x="0" y="1584"/>
                  </a:lnTo>
                  <a:lnTo>
                    <a:pt x="31376" y="0"/>
                  </a:lnTo>
                  <a:close/>
                </a:path>
              </a:pathLst>
            </a:custGeom>
            <a:gradFill>
              <a:gsLst>
                <a:gs pos="91000">
                  <a:schemeClr val="accent2">
                    <a:alpha val="25000"/>
                  </a:schemeClr>
                </a:gs>
                <a:gs pos="0">
                  <a:schemeClr val="accent2">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5B7DEDAB-0321-9C79-5FA7-F5C2CA80B56E}"/>
                </a:ext>
              </a:extLst>
            </p:cNvPr>
            <p:cNvSpPr/>
            <p:nvPr/>
          </p:nvSpPr>
          <p:spPr>
            <a:xfrm>
              <a:off x="6199078" y="531600"/>
              <a:ext cx="894231" cy="1848046"/>
            </a:xfrm>
            <a:custGeom>
              <a:avLst/>
              <a:gdLst>
                <a:gd name="connsiteX0" fmla="*/ 894231 w 894231"/>
                <a:gd name="connsiteY0" fmla="*/ 0 h 1848046"/>
                <a:gd name="connsiteX1" fmla="*/ 894231 w 894231"/>
                <a:gd name="connsiteY1" fmla="*/ 159124 h 1848046"/>
                <a:gd name="connsiteX2" fmla="*/ 847239 w 894231"/>
                <a:gd name="connsiteY2" fmla="*/ 161497 h 1848046"/>
                <a:gd name="connsiteX3" fmla="*/ 159124 w 894231"/>
                <a:gd name="connsiteY3" fmla="*/ 924023 h 1848046"/>
                <a:gd name="connsiteX4" fmla="*/ 847239 w 894231"/>
                <a:gd name="connsiteY4" fmla="*/ 1686549 h 1848046"/>
                <a:gd name="connsiteX5" fmla="*/ 894231 w 894231"/>
                <a:gd name="connsiteY5" fmla="*/ 1688922 h 1848046"/>
                <a:gd name="connsiteX6" fmla="*/ 894231 w 894231"/>
                <a:gd name="connsiteY6" fmla="*/ 1848046 h 1848046"/>
                <a:gd name="connsiteX7" fmla="*/ 830969 w 894231"/>
                <a:gd name="connsiteY7" fmla="*/ 1844851 h 1848046"/>
                <a:gd name="connsiteX8" fmla="*/ 0 w 894231"/>
                <a:gd name="connsiteY8" fmla="*/ 924023 h 1848046"/>
                <a:gd name="connsiteX9" fmla="*/ 830969 w 894231"/>
                <a:gd name="connsiteY9" fmla="*/ 3195 h 1848046"/>
                <a:gd name="connsiteX10" fmla="*/ 894231 w 894231"/>
                <a:gd name="connsiteY10" fmla="*/ 0 h 184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231" h="1848046">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A3554393-8F62-8C68-69EA-E3DC8B0643FD}"/>
                </a:ext>
              </a:extLst>
            </p:cNvPr>
            <p:cNvSpPr/>
            <p:nvPr/>
          </p:nvSpPr>
          <p:spPr>
            <a:xfrm>
              <a:off x="7093309" y="330534"/>
              <a:ext cx="1156465" cy="2250178"/>
            </a:xfrm>
            <a:custGeom>
              <a:avLst/>
              <a:gdLst>
                <a:gd name="connsiteX0" fmla="*/ 31376 w 1156465"/>
                <a:gd name="connsiteY0" fmla="*/ 0 h 2250178"/>
                <a:gd name="connsiteX1" fmla="*/ 1156465 w 1156465"/>
                <a:gd name="connsiteY1" fmla="*/ 1125089 h 2250178"/>
                <a:gd name="connsiteX2" fmla="*/ 31376 w 1156465"/>
                <a:gd name="connsiteY2" fmla="*/ 2250178 h 2250178"/>
                <a:gd name="connsiteX3" fmla="*/ 0 w 1156465"/>
                <a:gd name="connsiteY3" fmla="*/ 2248594 h 2250178"/>
                <a:gd name="connsiteX4" fmla="*/ 0 w 1156465"/>
                <a:gd name="connsiteY4" fmla="*/ 2049112 h 2250178"/>
                <a:gd name="connsiteX5" fmla="*/ 31376 w 1156465"/>
                <a:gd name="connsiteY5" fmla="*/ 2050696 h 2250178"/>
                <a:gd name="connsiteX6" fmla="*/ 956983 w 1156465"/>
                <a:gd name="connsiteY6" fmla="*/ 1125089 h 2250178"/>
                <a:gd name="connsiteX7" fmla="*/ 31376 w 1156465"/>
                <a:gd name="connsiteY7" fmla="*/ 199482 h 2250178"/>
                <a:gd name="connsiteX8" fmla="*/ 0 w 1156465"/>
                <a:gd name="connsiteY8" fmla="*/ 201066 h 2250178"/>
                <a:gd name="connsiteX9" fmla="*/ 0 w 1156465"/>
                <a:gd name="connsiteY9" fmla="*/ 1584 h 2250178"/>
                <a:gd name="connsiteX10" fmla="*/ 31376 w 1156465"/>
                <a:gd name="connsiteY10" fmla="*/ 0 h 22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65" h="2250178">
                  <a:moveTo>
                    <a:pt x="31376" y="0"/>
                  </a:moveTo>
                  <a:cubicBezTo>
                    <a:pt x="652745" y="0"/>
                    <a:pt x="1156465" y="503720"/>
                    <a:pt x="1156465" y="1125089"/>
                  </a:cubicBezTo>
                  <a:cubicBezTo>
                    <a:pt x="1156465" y="1746458"/>
                    <a:pt x="652745" y="2250178"/>
                    <a:pt x="31376" y="2250178"/>
                  </a:cubicBezTo>
                  <a:lnTo>
                    <a:pt x="0" y="2248594"/>
                  </a:lnTo>
                  <a:lnTo>
                    <a:pt x="0" y="2049112"/>
                  </a:lnTo>
                  <a:lnTo>
                    <a:pt x="31376" y="2050696"/>
                  </a:lnTo>
                  <a:cubicBezTo>
                    <a:pt x="542575" y="2050696"/>
                    <a:pt x="956983" y="1636288"/>
                    <a:pt x="956983" y="1125089"/>
                  </a:cubicBezTo>
                  <a:cubicBezTo>
                    <a:pt x="956983" y="613890"/>
                    <a:pt x="542575" y="199482"/>
                    <a:pt x="31376" y="199482"/>
                  </a:cubicBezTo>
                  <a:lnTo>
                    <a:pt x="0" y="201066"/>
                  </a:lnTo>
                  <a:lnTo>
                    <a:pt x="0" y="1584"/>
                  </a:lnTo>
                  <a:lnTo>
                    <a:pt x="31376" y="0"/>
                  </a:lnTo>
                  <a:close/>
                </a:path>
              </a:pathLst>
            </a:custGeom>
            <a:gradFill>
              <a:gsLst>
                <a:gs pos="100000">
                  <a:schemeClr val="accent1">
                    <a:lumMod val="5000"/>
                    <a:lumOff val="95000"/>
                    <a:alpha val="13000"/>
                  </a:schemeClr>
                </a:gs>
                <a:gs pos="0">
                  <a:schemeClr val="accent2">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16">
              <a:extLst>
                <a:ext uri="{FF2B5EF4-FFF2-40B4-BE49-F238E27FC236}">
                  <a16:creationId xmlns:a16="http://schemas.microsoft.com/office/drawing/2014/main" id="{5BC842C1-1787-288B-1AD1-C39707825A7C}"/>
                </a:ext>
              </a:extLst>
            </p:cNvPr>
            <p:cNvSpPr/>
            <p:nvPr/>
          </p:nvSpPr>
          <p:spPr>
            <a:xfrm>
              <a:off x="5999596" y="332118"/>
              <a:ext cx="1093713" cy="2247010"/>
            </a:xfrm>
            <a:custGeom>
              <a:avLst/>
              <a:gdLst>
                <a:gd name="connsiteX0" fmla="*/ 1093713 w 1093713"/>
                <a:gd name="connsiteY0" fmla="*/ 0 h 2247010"/>
                <a:gd name="connsiteX1" fmla="*/ 1093713 w 1093713"/>
                <a:gd name="connsiteY1" fmla="*/ 199482 h 2247010"/>
                <a:gd name="connsiteX2" fmla="*/ 1030451 w 1093713"/>
                <a:gd name="connsiteY2" fmla="*/ 202677 h 2247010"/>
                <a:gd name="connsiteX3" fmla="*/ 199482 w 1093713"/>
                <a:gd name="connsiteY3" fmla="*/ 1123505 h 2247010"/>
                <a:gd name="connsiteX4" fmla="*/ 1030451 w 1093713"/>
                <a:gd name="connsiteY4" fmla="*/ 2044333 h 2247010"/>
                <a:gd name="connsiteX5" fmla="*/ 1093713 w 1093713"/>
                <a:gd name="connsiteY5" fmla="*/ 2047528 h 2247010"/>
                <a:gd name="connsiteX6" fmla="*/ 1093713 w 1093713"/>
                <a:gd name="connsiteY6" fmla="*/ 2247010 h 2247010"/>
                <a:gd name="connsiteX7" fmla="*/ 1010055 w 1093713"/>
                <a:gd name="connsiteY7" fmla="*/ 2242785 h 2247010"/>
                <a:gd name="connsiteX8" fmla="*/ 0 w 1093713"/>
                <a:gd name="connsiteY8" fmla="*/ 1123505 h 2247010"/>
                <a:gd name="connsiteX9" fmla="*/ 1010055 w 1093713"/>
                <a:gd name="connsiteY9" fmla="*/ 4225 h 2247010"/>
                <a:gd name="connsiteX10" fmla="*/ 1093713 w 1093713"/>
                <a:gd name="connsiteY10" fmla="*/ 0 h 224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713" h="2247010">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extLst>
      <p:ext uri="{BB962C8B-B14F-4D97-AF65-F5344CB8AC3E}">
        <p14:creationId xmlns:p14="http://schemas.microsoft.com/office/powerpoint/2010/main" val="1599656784"/>
      </p:ext>
    </p:extLst>
  </p:cSld>
  <p:clrMapOvr>
    <a:masterClrMapping/>
  </p:clrMapOvr>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0D724-45CA-4BDE-FF2C-46C66231C75B}"/>
              </a:ext>
            </a:extLst>
          </p:cNvPr>
          <p:cNvSpPr/>
          <p:nvPr userDrawn="1"/>
        </p:nvSpPr>
        <p:spPr>
          <a:xfrm>
            <a:off x="0" y="151618"/>
            <a:ext cx="12192000" cy="951475"/>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p:cNvSpPr>
            <a:spLocks noGrp="1"/>
          </p:cNvSpPr>
          <p:nvPr>
            <p:ph type="title" hasCustomPrompt="1"/>
          </p:nvPr>
        </p:nvSpPr>
        <p:spPr>
          <a:xfrm>
            <a:off x="339944" y="263324"/>
            <a:ext cx="9853135" cy="824749"/>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br>
              <a:rPr lang="en-US" dirty="0"/>
            </a:br>
            <a:r>
              <a:rPr lang="en-US" dirty="0"/>
              <a:t>two line heading</a:t>
            </a:r>
          </a:p>
        </p:txBody>
      </p:sp>
      <p:sp>
        <p:nvSpPr>
          <p:cNvPr id="20" name="Content Placeholder 7"/>
          <p:cNvSpPr>
            <a:spLocks noGrp="1"/>
          </p:cNvSpPr>
          <p:nvPr>
            <p:ph sz="quarter" idx="10"/>
          </p:nvPr>
        </p:nvSpPr>
        <p:spPr>
          <a:xfrm>
            <a:off x="976214" y="1238081"/>
            <a:ext cx="10563057"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11676428-FF80-D4DE-7879-314156D5EB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
        <p:nvSpPr>
          <p:cNvPr id="21" name="Oval 20">
            <a:extLst>
              <a:ext uri="{FF2B5EF4-FFF2-40B4-BE49-F238E27FC236}">
                <a16:creationId xmlns:a16="http://schemas.microsoft.com/office/drawing/2014/main" id="{B027F7EB-714F-5491-2AF0-3C9FC7B8BE18}"/>
              </a:ext>
            </a:extLst>
          </p:cNvPr>
          <p:cNvSpPr/>
          <p:nvPr userDrawn="1"/>
        </p:nvSpPr>
        <p:spPr>
          <a:xfrm>
            <a:off x="11193632" y="152521"/>
            <a:ext cx="612598" cy="612598"/>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77AD91AA-1815-524E-9F7C-ADDB15AD9213}"/>
              </a:ext>
            </a:extLst>
          </p:cNvPr>
          <p:cNvSpPr txBox="1"/>
          <p:nvPr userDrawn="1"/>
        </p:nvSpPr>
        <p:spPr>
          <a:xfrm>
            <a:off x="11209405" y="278960"/>
            <a:ext cx="602539" cy="338554"/>
          </a:xfrm>
          <a:prstGeom prst="rect">
            <a:avLst/>
          </a:prstGeom>
          <a:noFill/>
        </p:spPr>
        <p:txBody>
          <a:bodyPr wrap="square" rtlCol="0">
            <a:spAutoFit/>
          </a:bodyPr>
          <a:lstStyle/>
          <a:p>
            <a:pPr algn="ctr"/>
            <a:fld id="{E71AE191-4A3D-4198-8433-57322BF56E29}" type="slidenum">
              <a:rPr lang="en-US" sz="1600" b="1" smtClean="0">
                <a:solidFill>
                  <a:srgbClr val="00A88E"/>
                </a:solidFill>
                <a:latin typeface="Century Gothic" charset="0"/>
                <a:ea typeface="Century Gothic" charset="0"/>
                <a:cs typeface="Century Gothic" charset="0"/>
              </a:rPr>
              <a:t>‹#›</a:t>
            </a:fld>
            <a:endParaRPr lang="en-US" sz="1600" b="1" dirty="0">
              <a:solidFill>
                <a:srgbClr val="00A88E"/>
              </a:solidFill>
              <a:latin typeface="Century Gothic" charset="0"/>
              <a:ea typeface="Century Gothic" charset="0"/>
              <a:cs typeface="Century Gothic" charset="0"/>
            </a:endParaRPr>
          </a:p>
        </p:txBody>
      </p:sp>
      <p:grpSp>
        <p:nvGrpSpPr>
          <p:cNvPr id="23" name="Group 22">
            <a:extLst>
              <a:ext uri="{FF2B5EF4-FFF2-40B4-BE49-F238E27FC236}">
                <a16:creationId xmlns:a16="http://schemas.microsoft.com/office/drawing/2014/main" id="{663CFBF9-076A-7471-B60A-6DA625DEC990}"/>
              </a:ext>
            </a:extLst>
          </p:cNvPr>
          <p:cNvGrpSpPr/>
          <p:nvPr userDrawn="1"/>
        </p:nvGrpSpPr>
        <p:grpSpPr>
          <a:xfrm>
            <a:off x="11068049" y="25579"/>
            <a:ext cx="866595" cy="866595"/>
            <a:chOff x="5999596" y="330534"/>
            <a:chExt cx="2250178" cy="2250178"/>
          </a:xfrm>
        </p:grpSpPr>
        <p:sp>
          <p:nvSpPr>
            <p:cNvPr id="24" name="Freeform 23">
              <a:extLst>
                <a:ext uri="{FF2B5EF4-FFF2-40B4-BE49-F238E27FC236}">
                  <a16:creationId xmlns:a16="http://schemas.microsoft.com/office/drawing/2014/main" id="{C961D866-CDB2-0E12-94EE-A33074C06D77}"/>
                </a:ext>
              </a:extLst>
            </p:cNvPr>
            <p:cNvSpPr/>
            <p:nvPr/>
          </p:nvSpPr>
          <p:spPr>
            <a:xfrm>
              <a:off x="7093309" y="530016"/>
              <a:ext cx="956983" cy="1851214"/>
            </a:xfrm>
            <a:custGeom>
              <a:avLst/>
              <a:gdLst>
                <a:gd name="connsiteX0" fmla="*/ 31376 w 956983"/>
                <a:gd name="connsiteY0" fmla="*/ 0 h 1851214"/>
                <a:gd name="connsiteX1" fmla="*/ 956983 w 956983"/>
                <a:gd name="connsiteY1" fmla="*/ 925607 h 1851214"/>
                <a:gd name="connsiteX2" fmla="*/ 31376 w 956983"/>
                <a:gd name="connsiteY2" fmla="*/ 1851214 h 1851214"/>
                <a:gd name="connsiteX3" fmla="*/ 0 w 956983"/>
                <a:gd name="connsiteY3" fmla="*/ 1849630 h 1851214"/>
                <a:gd name="connsiteX4" fmla="*/ 0 w 956983"/>
                <a:gd name="connsiteY4" fmla="*/ 1690506 h 1851214"/>
                <a:gd name="connsiteX5" fmla="*/ 31376 w 956983"/>
                <a:gd name="connsiteY5" fmla="*/ 1692090 h 1851214"/>
                <a:gd name="connsiteX6" fmla="*/ 797859 w 956983"/>
                <a:gd name="connsiteY6" fmla="*/ 925607 h 1851214"/>
                <a:gd name="connsiteX7" fmla="*/ 31376 w 956983"/>
                <a:gd name="connsiteY7" fmla="*/ 159124 h 1851214"/>
                <a:gd name="connsiteX8" fmla="*/ 0 w 956983"/>
                <a:gd name="connsiteY8" fmla="*/ 160708 h 1851214"/>
                <a:gd name="connsiteX9" fmla="*/ 0 w 956983"/>
                <a:gd name="connsiteY9" fmla="*/ 1584 h 1851214"/>
                <a:gd name="connsiteX10" fmla="*/ 31376 w 956983"/>
                <a:gd name="connsiteY10" fmla="*/ 0 h 185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983" h="1851214">
                  <a:moveTo>
                    <a:pt x="31376" y="0"/>
                  </a:moveTo>
                  <a:cubicBezTo>
                    <a:pt x="542575" y="0"/>
                    <a:pt x="956983" y="414408"/>
                    <a:pt x="956983" y="925607"/>
                  </a:cubicBezTo>
                  <a:cubicBezTo>
                    <a:pt x="956983" y="1436806"/>
                    <a:pt x="542575" y="1851214"/>
                    <a:pt x="31376" y="1851214"/>
                  </a:cubicBezTo>
                  <a:lnTo>
                    <a:pt x="0" y="1849630"/>
                  </a:lnTo>
                  <a:lnTo>
                    <a:pt x="0" y="1690506"/>
                  </a:lnTo>
                  <a:lnTo>
                    <a:pt x="31376" y="1692090"/>
                  </a:lnTo>
                  <a:cubicBezTo>
                    <a:pt x="454693" y="1692090"/>
                    <a:pt x="797859" y="1348924"/>
                    <a:pt x="797859" y="925607"/>
                  </a:cubicBezTo>
                  <a:cubicBezTo>
                    <a:pt x="797859" y="502290"/>
                    <a:pt x="454693" y="159124"/>
                    <a:pt x="31376" y="159124"/>
                  </a:cubicBezTo>
                  <a:lnTo>
                    <a:pt x="0" y="160708"/>
                  </a:lnTo>
                  <a:lnTo>
                    <a:pt x="0" y="1584"/>
                  </a:lnTo>
                  <a:lnTo>
                    <a:pt x="31376" y="0"/>
                  </a:lnTo>
                  <a:close/>
                </a:path>
              </a:pathLst>
            </a:custGeom>
            <a:gradFill>
              <a:gsLst>
                <a:gs pos="91000">
                  <a:schemeClr val="accent2">
                    <a:alpha val="25000"/>
                  </a:schemeClr>
                </a:gs>
                <a:gs pos="0">
                  <a:schemeClr val="accent2">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Freeform 24">
              <a:extLst>
                <a:ext uri="{FF2B5EF4-FFF2-40B4-BE49-F238E27FC236}">
                  <a16:creationId xmlns:a16="http://schemas.microsoft.com/office/drawing/2014/main" id="{5B7DEDAB-0321-9C79-5FA7-F5C2CA80B56E}"/>
                </a:ext>
              </a:extLst>
            </p:cNvPr>
            <p:cNvSpPr/>
            <p:nvPr/>
          </p:nvSpPr>
          <p:spPr>
            <a:xfrm>
              <a:off x="6199078" y="531600"/>
              <a:ext cx="894231" cy="1848046"/>
            </a:xfrm>
            <a:custGeom>
              <a:avLst/>
              <a:gdLst>
                <a:gd name="connsiteX0" fmla="*/ 894231 w 894231"/>
                <a:gd name="connsiteY0" fmla="*/ 0 h 1848046"/>
                <a:gd name="connsiteX1" fmla="*/ 894231 w 894231"/>
                <a:gd name="connsiteY1" fmla="*/ 159124 h 1848046"/>
                <a:gd name="connsiteX2" fmla="*/ 847239 w 894231"/>
                <a:gd name="connsiteY2" fmla="*/ 161497 h 1848046"/>
                <a:gd name="connsiteX3" fmla="*/ 159124 w 894231"/>
                <a:gd name="connsiteY3" fmla="*/ 924023 h 1848046"/>
                <a:gd name="connsiteX4" fmla="*/ 847239 w 894231"/>
                <a:gd name="connsiteY4" fmla="*/ 1686549 h 1848046"/>
                <a:gd name="connsiteX5" fmla="*/ 894231 w 894231"/>
                <a:gd name="connsiteY5" fmla="*/ 1688922 h 1848046"/>
                <a:gd name="connsiteX6" fmla="*/ 894231 w 894231"/>
                <a:gd name="connsiteY6" fmla="*/ 1848046 h 1848046"/>
                <a:gd name="connsiteX7" fmla="*/ 830969 w 894231"/>
                <a:gd name="connsiteY7" fmla="*/ 1844851 h 1848046"/>
                <a:gd name="connsiteX8" fmla="*/ 0 w 894231"/>
                <a:gd name="connsiteY8" fmla="*/ 924023 h 1848046"/>
                <a:gd name="connsiteX9" fmla="*/ 830969 w 894231"/>
                <a:gd name="connsiteY9" fmla="*/ 3195 h 1848046"/>
                <a:gd name="connsiteX10" fmla="*/ 894231 w 894231"/>
                <a:gd name="connsiteY10" fmla="*/ 0 h 184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231" h="1848046">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25">
              <a:extLst>
                <a:ext uri="{FF2B5EF4-FFF2-40B4-BE49-F238E27FC236}">
                  <a16:creationId xmlns:a16="http://schemas.microsoft.com/office/drawing/2014/main" id="{A3554393-8F62-8C68-69EA-E3DC8B0643FD}"/>
                </a:ext>
              </a:extLst>
            </p:cNvPr>
            <p:cNvSpPr/>
            <p:nvPr/>
          </p:nvSpPr>
          <p:spPr>
            <a:xfrm>
              <a:off x="7093309" y="330534"/>
              <a:ext cx="1156465" cy="2250178"/>
            </a:xfrm>
            <a:custGeom>
              <a:avLst/>
              <a:gdLst>
                <a:gd name="connsiteX0" fmla="*/ 31376 w 1156465"/>
                <a:gd name="connsiteY0" fmla="*/ 0 h 2250178"/>
                <a:gd name="connsiteX1" fmla="*/ 1156465 w 1156465"/>
                <a:gd name="connsiteY1" fmla="*/ 1125089 h 2250178"/>
                <a:gd name="connsiteX2" fmla="*/ 31376 w 1156465"/>
                <a:gd name="connsiteY2" fmla="*/ 2250178 h 2250178"/>
                <a:gd name="connsiteX3" fmla="*/ 0 w 1156465"/>
                <a:gd name="connsiteY3" fmla="*/ 2248594 h 2250178"/>
                <a:gd name="connsiteX4" fmla="*/ 0 w 1156465"/>
                <a:gd name="connsiteY4" fmla="*/ 2049112 h 2250178"/>
                <a:gd name="connsiteX5" fmla="*/ 31376 w 1156465"/>
                <a:gd name="connsiteY5" fmla="*/ 2050696 h 2250178"/>
                <a:gd name="connsiteX6" fmla="*/ 956983 w 1156465"/>
                <a:gd name="connsiteY6" fmla="*/ 1125089 h 2250178"/>
                <a:gd name="connsiteX7" fmla="*/ 31376 w 1156465"/>
                <a:gd name="connsiteY7" fmla="*/ 199482 h 2250178"/>
                <a:gd name="connsiteX8" fmla="*/ 0 w 1156465"/>
                <a:gd name="connsiteY8" fmla="*/ 201066 h 2250178"/>
                <a:gd name="connsiteX9" fmla="*/ 0 w 1156465"/>
                <a:gd name="connsiteY9" fmla="*/ 1584 h 2250178"/>
                <a:gd name="connsiteX10" fmla="*/ 31376 w 1156465"/>
                <a:gd name="connsiteY10" fmla="*/ 0 h 22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65" h="2250178">
                  <a:moveTo>
                    <a:pt x="31376" y="0"/>
                  </a:moveTo>
                  <a:cubicBezTo>
                    <a:pt x="652745" y="0"/>
                    <a:pt x="1156465" y="503720"/>
                    <a:pt x="1156465" y="1125089"/>
                  </a:cubicBezTo>
                  <a:cubicBezTo>
                    <a:pt x="1156465" y="1746458"/>
                    <a:pt x="652745" y="2250178"/>
                    <a:pt x="31376" y="2250178"/>
                  </a:cubicBezTo>
                  <a:lnTo>
                    <a:pt x="0" y="2248594"/>
                  </a:lnTo>
                  <a:lnTo>
                    <a:pt x="0" y="2049112"/>
                  </a:lnTo>
                  <a:lnTo>
                    <a:pt x="31376" y="2050696"/>
                  </a:lnTo>
                  <a:cubicBezTo>
                    <a:pt x="542575" y="2050696"/>
                    <a:pt x="956983" y="1636288"/>
                    <a:pt x="956983" y="1125089"/>
                  </a:cubicBezTo>
                  <a:cubicBezTo>
                    <a:pt x="956983" y="613890"/>
                    <a:pt x="542575" y="199482"/>
                    <a:pt x="31376" y="199482"/>
                  </a:cubicBezTo>
                  <a:lnTo>
                    <a:pt x="0" y="201066"/>
                  </a:lnTo>
                  <a:lnTo>
                    <a:pt x="0" y="1584"/>
                  </a:lnTo>
                  <a:lnTo>
                    <a:pt x="31376" y="0"/>
                  </a:lnTo>
                  <a:close/>
                </a:path>
              </a:pathLst>
            </a:custGeom>
            <a:gradFill>
              <a:gsLst>
                <a:gs pos="100000">
                  <a:schemeClr val="accent1">
                    <a:lumMod val="5000"/>
                    <a:lumOff val="95000"/>
                    <a:alpha val="13000"/>
                  </a:schemeClr>
                </a:gs>
                <a:gs pos="0">
                  <a:schemeClr val="accent2">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26">
              <a:extLst>
                <a:ext uri="{FF2B5EF4-FFF2-40B4-BE49-F238E27FC236}">
                  <a16:creationId xmlns:a16="http://schemas.microsoft.com/office/drawing/2014/main" id="{5BC842C1-1787-288B-1AD1-C39707825A7C}"/>
                </a:ext>
              </a:extLst>
            </p:cNvPr>
            <p:cNvSpPr/>
            <p:nvPr/>
          </p:nvSpPr>
          <p:spPr>
            <a:xfrm>
              <a:off x="5999596" y="332118"/>
              <a:ext cx="1093713" cy="2247010"/>
            </a:xfrm>
            <a:custGeom>
              <a:avLst/>
              <a:gdLst>
                <a:gd name="connsiteX0" fmla="*/ 1093713 w 1093713"/>
                <a:gd name="connsiteY0" fmla="*/ 0 h 2247010"/>
                <a:gd name="connsiteX1" fmla="*/ 1093713 w 1093713"/>
                <a:gd name="connsiteY1" fmla="*/ 199482 h 2247010"/>
                <a:gd name="connsiteX2" fmla="*/ 1030451 w 1093713"/>
                <a:gd name="connsiteY2" fmla="*/ 202677 h 2247010"/>
                <a:gd name="connsiteX3" fmla="*/ 199482 w 1093713"/>
                <a:gd name="connsiteY3" fmla="*/ 1123505 h 2247010"/>
                <a:gd name="connsiteX4" fmla="*/ 1030451 w 1093713"/>
                <a:gd name="connsiteY4" fmla="*/ 2044333 h 2247010"/>
                <a:gd name="connsiteX5" fmla="*/ 1093713 w 1093713"/>
                <a:gd name="connsiteY5" fmla="*/ 2047528 h 2247010"/>
                <a:gd name="connsiteX6" fmla="*/ 1093713 w 1093713"/>
                <a:gd name="connsiteY6" fmla="*/ 2247010 h 2247010"/>
                <a:gd name="connsiteX7" fmla="*/ 1010055 w 1093713"/>
                <a:gd name="connsiteY7" fmla="*/ 2242785 h 2247010"/>
                <a:gd name="connsiteX8" fmla="*/ 0 w 1093713"/>
                <a:gd name="connsiteY8" fmla="*/ 1123505 h 2247010"/>
                <a:gd name="connsiteX9" fmla="*/ 1010055 w 1093713"/>
                <a:gd name="connsiteY9" fmla="*/ 4225 h 2247010"/>
                <a:gd name="connsiteX10" fmla="*/ 1093713 w 1093713"/>
                <a:gd name="connsiteY10" fmla="*/ 0 h 224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713" h="2247010">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extLst>
      <p:ext uri="{BB962C8B-B14F-4D97-AF65-F5344CB8AC3E}">
        <p14:creationId xmlns:p14="http://schemas.microsoft.com/office/powerpoint/2010/main" val="1139736774"/>
      </p:ext>
    </p:extLst>
  </p:cSld>
  <p:clrMapOvr>
    <a:masterClrMapping/>
  </p:clrMapOvr>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BDCEB5-F112-2135-4542-0F6B6AA144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10288" cy="6858000"/>
          </a:xfrm>
          <a:prstGeom prst="rect">
            <a:avLst/>
          </a:prstGeom>
        </p:spPr>
      </p:pic>
      <p:sp>
        <p:nvSpPr>
          <p:cNvPr id="6" name="Title 1">
            <a:extLst>
              <a:ext uri="{FF2B5EF4-FFF2-40B4-BE49-F238E27FC236}">
                <a16:creationId xmlns:a16="http://schemas.microsoft.com/office/drawing/2014/main" id="{1DAD0DFC-8977-D21D-BC8C-735CCE530D7C}"/>
              </a:ext>
            </a:extLst>
          </p:cNvPr>
          <p:cNvSpPr>
            <a:spLocks noGrp="1"/>
          </p:cNvSpPr>
          <p:nvPr>
            <p:ph type="title"/>
          </p:nvPr>
        </p:nvSpPr>
        <p:spPr>
          <a:xfrm>
            <a:off x="752559" y="3148583"/>
            <a:ext cx="10373990" cy="403618"/>
          </a:xfrm>
          <a:prstGeom prst="rect">
            <a:avLst/>
          </a:prstGeom>
          <a:ln>
            <a:noFill/>
          </a:ln>
        </p:spPr>
        <p:txBody>
          <a:bodyPr/>
          <a:lstStyle>
            <a:lvl1pPr marL="0" algn="r" defTabSz="914400" rtl="0" eaLnBrk="1" latinLnBrk="0" hangingPunct="1">
              <a:lnSpc>
                <a:spcPct val="90000"/>
              </a:lnSpc>
              <a:spcBef>
                <a:spcPct val="0"/>
              </a:spcBef>
              <a:buNone/>
              <a:defRPr lang="en-US" sz="2800" b="1" kern="1200" dirty="0">
                <a:solidFill>
                  <a:srgbClr val="00A88E"/>
                </a:solidFill>
                <a:latin typeface="Century Gothic" charset="0"/>
                <a:ea typeface="Century Gothic" charset="0"/>
                <a:cs typeface="Century Gothic" charset="0"/>
              </a:defRPr>
            </a:lvl1pPr>
          </a:lstStyle>
          <a:p>
            <a:r>
              <a:rPr lang="en-US" dirty="0"/>
              <a:t>Click to edit Master title style</a:t>
            </a:r>
          </a:p>
        </p:txBody>
      </p:sp>
      <p:pic>
        <p:nvPicPr>
          <p:cNvPr id="11" name="Picture 10">
            <a:extLst>
              <a:ext uri="{FF2B5EF4-FFF2-40B4-BE49-F238E27FC236}">
                <a16:creationId xmlns:a16="http://schemas.microsoft.com/office/drawing/2014/main" id="{12485A24-95EA-FB89-919B-395B8F2C215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061722" y="6082406"/>
            <a:ext cx="824753" cy="720730"/>
          </a:xfrm>
          <a:prstGeom prst="rect">
            <a:avLst/>
          </a:prstGeom>
        </p:spPr>
      </p:pic>
    </p:spTree>
    <p:extLst>
      <p:ext uri="{BB962C8B-B14F-4D97-AF65-F5344CB8AC3E}">
        <p14:creationId xmlns:p14="http://schemas.microsoft.com/office/powerpoint/2010/main" val="2135708437"/>
      </p:ext>
    </p:extLst>
  </p:cSld>
  <p:clrMapOvr>
    <a:masterClrMapping/>
  </p:clrMapOvr>
</p:sldLayout>
</file>

<file path=ppt/slideLayouts/slideLayout17.xml><?xml version="1.0" encoding="utf-8"?>
<p:sldLayout xmlns:p="http://schemas.openxmlformats.org/presentationml/2006/main" xmlns:a="http://schemas.openxmlformats.org/drawingml/2006/main" xmlns:r="http://schemas.openxmlformats.org/officeDocument/2006/relationships" preserve="1" userDrawn="1">
  <p:cSld name="5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A41662-03B1-28E0-4E23-A1506B78DA40}"/>
              </a:ext>
            </a:extLst>
          </p:cNvPr>
          <p:cNvPicPr>
            <a:picLocks noChangeAspect="1"/>
          </p:cNvPicPr>
          <p:nvPr userDrawn="1"/>
        </p:nvPicPr>
        <p:blipFill rotWithShape="1">
          <a:blip cstate="screen" r:embed="rId2">
            <a:extLst>
              <a:ext uri="{28A0092B-C50C-407E-A947-70E740481C1C}">
                <a14:useLocalDpi xmlns:a14="http://schemas.microsoft.com/office/drawing/2010/main"/>
              </a:ext>
            </a:extLst>
          </a:blip>
          <a:srcRect b="-11" r="-16"/>
          <a:stretch/>
        </p:blipFill>
        <p:spPr>
          <a:xfrm>
            <a:off x="0" y="0"/>
            <a:ext cx="12191999" cy="6876288"/>
          </a:xfrm>
          <a:prstGeom prst="rect">
            <a:avLst/>
          </a:prstGeom>
        </p:spPr>
      </p:pic>
      <p:sp>
        <p:nvSpPr>
          <p:cNvPr id="6" name="Title 1">
            <a:extLst>
              <a:ext uri="{FF2B5EF4-FFF2-40B4-BE49-F238E27FC236}">
                <a16:creationId xmlns:a16="http://schemas.microsoft.com/office/drawing/2014/main" id="{1DAD0DFC-8977-D21D-BC8C-735CCE530D7C}"/>
              </a:ext>
            </a:extLst>
          </p:cNvPr>
          <p:cNvSpPr>
            <a:spLocks noGrp="1"/>
          </p:cNvSpPr>
          <p:nvPr>
            <p:ph type="title"/>
          </p:nvPr>
        </p:nvSpPr>
        <p:spPr>
          <a:xfrm>
            <a:off x="752559" y="3148583"/>
            <a:ext cx="10373990" cy="403618"/>
          </a:xfrm>
          <a:prstGeom prst="rect">
            <a:avLst/>
          </a:prstGeom>
          <a:ln>
            <a:noFill/>
          </a:ln>
        </p:spPr>
        <p:txBody>
          <a:bodyPr/>
          <a:lstStyle>
            <a:lvl1pPr algn="r" defTabSz="914400" eaLnBrk="1" hangingPunct="1" latinLnBrk="0" marL="0" rtl="0">
              <a:lnSpc>
                <a:spcPct val="90000"/>
              </a:lnSpc>
              <a:spcBef>
                <a:spcPct val="0"/>
              </a:spcBef>
              <a:buNone/>
              <a:defRPr b="1" dirty="0" kern="1200" lang="en-US" sz="2800">
                <a:solidFill>
                  <a:srgbClr val="00A88E"/>
                </a:solidFill>
                <a:latin charset="0" typeface="Century Gothic"/>
                <a:ea charset="0" typeface="Century Gothic"/>
                <a:cs charset="0" typeface="Century Gothic"/>
              </a:defRPr>
            </a:lvl1pPr>
          </a:lstStyle>
          <a:p>
            <a:r>
              <a:rPr dirty="0" lang="en-US"/>
              <a:t>Click to edit Master title style</a:t>
            </a:r>
          </a:p>
        </p:txBody>
      </p:sp>
      <p:pic>
        <p:nvPicPr>
          <p:cNvPr id="11" name="Picture 10">
            <a:extLst>
              <a:ext uri="{FF2B5EF4-FFF2-40B4-BE49-F238E27FC236}">
                <a16:creationId xmlns:a16="http://schemas.microsoft.com/office/drawing/2014/main" id="{12485A24-95EA-FB89-919B-395B8F2C215F}"/>
              </a:ext>
            </a:extLst>
          </p:cNvPr>
          <p:cNvPicPr>
            <a:picLocks noChangeAspect="1"/>
          </p:cNvPicPr>
          <p:nvPr userDrawn="1"/>
        </p:nvPicPr>
        <p:blipFill rotWithShape="1">
          <a:blip cstate="screen" r:embed="rId3">
            <a:extLst>
              <a:ext uri="{28A0092B-C50C-407E-A947-70E740481C1C}">
                <a14:useLocalDpi xmlns:a14="http://schemas.microsoft.com/office/drawing/2010/main"/>
              </a:ext>
            </a:extLst>
          </a:blip>
          <a:srcRect/>
          <a:stretch/>
        </p:blipFill>
        <p:spPr>
          <a:xfrm>
            <a:off x="11061722" y="6082406"/>
            <a:ext cx="824753" cy="720730"/>
          </a:xfrm>
          <a:prstGeom prst="rect">
            <a:avLst/>
          </a:prstGeom>
        </p:spPr>
      </p:pic>
    </p:spTree>
    <p:extLst>
      <p:ext uri="{BB962C8B-B14F-4D97-AF65-F5344CB8AC3E}">
        <p14:creationId xmlns:p14="http://schemas.microsoft.com/office/powerpoint/2010/main" val="19463791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DAD0DFC-8977-D21D-BC8C-735CCE530D7C}"/>
              </a:ext>
            </a:extLst>
          </p:cNvPr>
          <p:cNvSpPr>
            <a:spLocks noGrp="1"/>
          </p:cNvSpPr>
          <p:nvPr>
            <p:ph type="title"/>
          </p:nvPr>
        </p:nvSpPr>
        <p:spPr>
          <a:xfrm>
            <a:off x="2249423" y="2488691"/>
            <a:ext cx="8138161" cy="1880617"/>
          </a:xfrm>
          <a:prstGeom prst="rect">
            <a:avLst/>
          </a:prstGeom>
          <a:ln>
            <a:noFill/>
          </a:ln>
        </p:spPr>
        <p:txBody>
          <a:bodyPr/>
          <a:lstStyle>
            <a:lvl1pPr marL="0" algn="l" defTabSz="914400" rtl="0" eaLnBrk="1" latinLnBrk="0" hangingPunct="1">
              <a:lnSpc>
                <a:spcPct val="90000"/>
              </a:lnSpc>
              <a:spcBef>
                <a:spcPct val="0"/>
              </a:spcBef>
              <a:buNone/>
              <a:defRPr lang="en-US" sz="6000" b="1" kern="1200" dirty="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11" name="Picture 10">
            <a:extLst>
              <a:ext uri="{FF2B5EF4-FFF2-40B4-BE49-F238E27FC236}">
                <a16:creationId xmlns:a16="http://schemas.microsoft.com/office/drawing/2014/main" id="{12485A24-95EA-FB89-919B-395B8F2C215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61722" y="6082406"/>
            <a:ext cx="824753" cy="720730"/>
          </a:xfrm>
          <a:prstGeom prst="rect">
            <a:avLst/>
          </a:prstGeom>
        </p:spPr>
      </p:pic>
      <p:pic>
        <p:nvPicPr>
          <p:cNvPr id="3" name="Picture 2">
            <a:extLst>
              <a:ext uri="{FF2B5EF4-FFF2-40B4-BE49-F238E27FC236}">
                <a16:creationId xmlns:a16="http://schemas.microsoft.com/office/drawing/2014/main" id="{9A91627A-697D-FEA7-1793-FFC1335CDC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C5AC3EE1-1597-9D65-88A9-CDF07816C076}"/>
              </a:ext>
            </a:extLst>
          </p:cNvPr>
          <p:cNvGrpSpPr/>
          <p:nvPr userDrawn="1"/>
        </p:nvGrpSpPr>
        <p:grpSpPr>
          <a:xfrm>
            <a:off x="9260545" y="5553426"/>
            <a:ext cx="1764601" cy="1057959"/>
            <a:chOff x="8855996" y="4902858"/>
            <a:chExt cx="2872808" cy="1497942"/>
          </a:xfrm>
        </p:grpSpPr>
        <p:pic>
          <p:nvPicPr>
            <p:cNvPr id="7" name="bg object 20">
              <a:extLst>
                <a:ext uri="{FF2B5EF4-FFF2-40B4-BE49-F238E27FC236}">
                  <a16:creationId xmlns:a16="http://schemas.microsoft.com/office/drawing/2014/main" id="{2FCE54D3-1C85-526F-2244-F505E7FF5620}"/>
                </a:ext>
              </a:extLst>
            </p:cNvPr>
            <p:cNvPicPr/>
            <p:nvPr/>
          </p:nvPicPr>
          <p:blipFill>
            <a:blip r:embed="rId4" cstate="screen">
              <a:extLst>
                <a:ext uri="{28A0092B-C50C-407E-A947-70E740481C1C}">
                  <a14:useLocalDpi xmlns:a14="http://schemas.microsoft.com/office/drawing/2010/main"/>
                </a:ext>
              </a:extLst>
            </a:blip>
            <a:stretch>
              <a:fillRect/>
            </a:stretch>
          </p:blipFill>
          <p:spPr>
            <a:xfrm>
              <a:off x="8855996" y="6102647"/>
              <a:ext cx="120408" cy="81457"/>
            </a:xfrm>
            <a:prstGeom prst="rect">
              <a:avLst/>
            </a:prstGeom>
          </p:spPr>
        </p:pic>
        <p:pic>
          <p:nvPicPr>
            <p:cNvPr id="8" name="bg object 21">
              <a:extLst>
                <a:ext uri="{FF2B5EF4-FFF2-40B4-BE49-F238E27FC236}">
                  <a16:creationId xmlns:a16="http://schemas.microsoft.com/office/drawing/2014/main" id="{9C87BAEA-F185-C2D6-3432-DA72808ACA22}"/>
                </a:ext>
              </a:extLst>
            </p:cNvPr>
            <p:cNvPicPr/>
            <p:nvPr/>
          </p:nvPicPr>
          <p:blipFill>
            <a:blip r:embed="rId5" cstate="screen">
              <a:extLst>
                <a:ext uri="{28A0092B-C50C-407E-A947-70E740481C1C}">
                  <a14:useLocalDpi xmlns:a14="http://schemas.microsoft.com/office/drawing/2010/main"/>
                </a:ext>
              </a:extLst>
            </a:blip>
            <a:stretch>
              <a:fillRect/>
            </a:stretch>
          </p:blipFill>
          <p:spPr>
            <a:xfrm>
              <a:off x="9298849" y="6104763"/>
              <a:ext cx="99580" cy="79349"/>
            </a:xfrm>
            <a:prstGeom prst="rect">
              <a:avLst/>
            </a:prstGeom>
          </p:spPr>
        </p:pic>
        <p:pic>
          <p:nvPicPr>
            <p:cNvPr id="9" name="bg object 22">
              <a:extLst>
                <a:ext uri="{FF2B5EF4-FFF2-40B4-BE49-F238E27FC236}">
                  <a16:creationId xmlns:a16="http://schemas.microsoft.com/office/drawing/2014/main" id="{C940CA21-9C3C-DB65-21C0-2C2C0529C31B}"/>
                </a:ext>
              </a:extLst>
            </p:cNvPr>
            <p:cNvPicPr/>
            <p:nvPr/>
          </p:nvPicPr>
          <p:blipFill>
            <a:blip r:embed="rId6" cstate="screen">
              <a:extLst>
                <a:ext uri="{28A0092B-C50C-407E-A947-70E740481C1C}">
                  <a14:useLocalDpi xmlns:a14="http://schemas.microsoft.com/office/drawing/2010/main"/>
                </a:ext>
              </a:extLst>
            </a:blip>
            <a:stretch>
              <a:fillRect/>
            </a:stretch>
          </p:blipFill>
          <p:spPr>
            <a:xfrm>
              <a:off x="9083585" y="6104735"/>
              <a:ext cx="97193" cy="81432"/>
            </a:xfrm>
            <a:prstGeom prst="rect">
              <a:avLst/>
            </a:prstGeom>
          </p:spPr>
        </p:pic>
        <p:sp>
          <p:nvSpPr>
            <p:cNvPr id="10" name="bg object 23">
              <a:extLst>
                <a:ext uri="{FF2B5EF4-FFF2-40B4-BE49-F238E27FC236}">
                  <a16:creationId xmlns:a16="http://schemas.microsoft.com/office/drawing/2014/main" id="{FD8D3257-D7CA-ED81-4621-36FF617CBD8A}"/>
                </a:ext>
              </a:extLst>
            </p:cNvPr>
            <p:cNvSpPr/>
            <p:nvPr/>
          </p:nvSpPr>
          <p:spPr>
            <a:xfrm>
              <a:off x="9511058" y="6104756"/>
              <a:ext cx="26034" cy="80010"/>
            </a:xfrm>
            <a:custGeom>
              <a:avLst/>
              <a:gdLst/>
              <a:ahLst/>
              <a:cxnLst/>
              <a:rect l="l" t="t" r="r" b="b"/>
              <a:pathLst>
                <a:path w="26034" h="80010">
                  <a:moveTo>
                    <a:pt x="25476" y="0"/>
                  </a:moveTo>
                  <a:lnTo>
                    <a:pt x="0" y="0"/>
                  </a:lnTo>
                  <a:lnTo>
                    <a:pt x="0" y="79362"/>
                  </a:lnTo>
                  <a:lnTo>
                    <a:pt x="25476" y="79413"/>
                  </a:lnTo>
                  <a:lnTo>
                    <a:pt x="25476" y="0"/>
                  </a:lnTo>
                  <a:close/>
                </a:path>
              </a:pathLst>
            </a:custGeom>
            <a:solidFill>
              <a:srgbClr val="002E6E"/>
            </a:solidFill>
          </p:spPr>
          <p:txBody>
            <a:bodyPr wrap="square" lIns="0" tIns="0" rIns="0" bIns="0" rtlCol="0"/>
            <a:lstStyle/>
            <a:p>
              <a:endParaRPr dirty="0"/>
            </a:p>
          </p:txBody>
        </p:sp>
        <p:pic>
          <p:nvPicPr>
            <p:cNvPr id="12" name="bg object 24">
              <a:extLst>
                <a:ext uri="{FF2B5EF4-FFF2-40B4-BE49-F238E27FC236}">
                  <a16:creationId xmlns:a16="http://schemas.microsoft.com/office/drawing/2014/main" id="{272F3F54-7403-1651-F7C6-AF615B69733A}"/>
                </a:ext>
              </a:extLst>
            </p:cNvPr>
            <p:cNvPicPr/>
            <p:nvPr/>
          </p:nvPicPr>
          <p:blipFill>
            <a:blip r:embed="rId7" cstate="screen">
              <a:extLst>
                <a:ext uri="{28A0092B-C50C-407E-A947-70E740481C1C}">
                  <a14:useLocalDpi xmlns:a14="http://schemas.microsoft.com/office/drawing/2010/main"/>
                </a:ext>
              </a:extLst>
            </a:blip>
            <a:stretch>
              <a:fillRect/>
            </a:stretch>
          </p:blipFill>
          <p:spPr>
            <a:xfrm>
              <a:off x="9645811" y="6104788"/>
              <a:ext cx="78270" cy="79362"/>
            </a:xfrm>
            <a:prstGeom prst="rect">
              <a:avLst/>
            </a:prstGeom>
          </p:spPr>
        </p:pic>
        <p:pic>
          <p:nvPicPr>
            <p:cNvPr id="13" name="bg object 25">
              <a:extLst>
                <a:ext uri="{FF2B5EF4-FFF2-40B4-BE49-F238E27FC236}">
                  <a16:creationId xmlns:a16="http://schemas.microsoft.com/office/drawing/2014/main" id="{DBF8D5B8-FCB3-21F7-0713-6E9665F9E606}"/>
                </a:ext>
              </a:extLst>
            </p:cNvPr>
            <p:cNvPicPr/>
            <p:nvPr/>
          </p:nvPicPr>
          <p:blipFill>
            <a:blip r:embed="rId8" cstate="screen">
              <a:extLst>
                <a:ext uri="{28A0092B-C50C-407E-A947-70E740481C1C}">
                  <a14:useLocalDpi xmlns:a14="http://schemas.microsoft.com/office/drawing/2010/main"/>
                </a:ext>
              </a:extLst>
            </a:blip>
            <a:stretch>
              <a:fillRect/>
            </a:stretch>
          </p:blipFill>
          <p:spPr>
            <a:xfrm>
              <a:off x="9827255" y="6102720"/>
              <a:ext cx="129451" cy="83553"/>
            </a:xfrm>
            <a:prstGeom prst="rect">
              <a:avLst/>
            </a:prstGeom>
          </p:spPr>
        </p:pic>
        <p:pic>
          <p:nvPicPr>
            <p:cNvPr id="14" name="bg object 26">
              <a:extLst>
                <a:ext uri="{FF2B5EF4-FFF2-40B4-BE49-F238E27FC236}">
                  <a16:creationId xmlns:a16="http://schemas.microsoft.com/office/drawing/2014/main" id="{DECD0EF7-2139-4242-4916-5C571FAC703A}"/>
                </a:ext>
              </a:extLst>
            </p:cNvPr>
            <p:cNvPicPr/>
            <p:nvPr/>
          </p:nvPicPr>
          <p:blipFill>
            <a:blip r:embed="rId9" cstate="screen">
              <a:extLst>
                <a:ext uri="{28A0092B-C50C-407E-A947-70E740481C1C}">
                  <a14:useLocalDpi xmlns:a14="http://schemas.microsoft.com/office/drawing/2010/main"/>
                </a:ext>
              </a:extLst>
            </a:blip>
            <a:stretch>
              <a:fillRect/>
            </a:stretch>
          </p:blipFill>
          <p:spPr>
            <a:xfrm>
              <a:off x="10069293" y="6104802"/>
              <a:ext cx="88468" cy="79387"/>
            </a:xfrm>
            <a:prstGeom prst="rect">
              <a:avLst/>
            </a:prstGeom>
          </p:spPr>
        </p:pic>
        <p:sp>
          <p:nvSpPr>
            <p:cNvPr id="15" name="bg object 27">
              <a:extLst>
                <a:ext uri="{FF2B5EF4-FFF2-40B4-BE49-F238E27FC236}">
                  <a16:creationId xmlns:a16="http://schemas.microsoft.com/office/drawing/2014/main" id="{5C62C95F-8D3A-1DC8-9B87-A8B3E4824143}"/>
                </a:ext>
              </a:extLst>
            </p:cNvPr>
            <p:cNvSpPr/>
            <p:nvPr/>
          </p:nvSpPr>
          <p:spPr>
            <a:xfrm>
              <a:off x="10264241" y="6144386"/>
              <a:ext cx="42545" cy="12700"/>
            </a:xfrm>
            <a:custGeom>
              <a:avLst/>
              <a:gdLst/>
              <a:ahLst/>
              <a:cxnLst/>
              <a:rect l="l" t="t" r="r" b="b"/>
              <a:pathLst>
                <a:path w="42545" h="12700">
                  <a:moveTo>
                    <a:pt x="42367" y="0"/>
                  </a:moveTo>
                  <a:lnTo>
                    <a:pt x="0" y="0"/>
                  </a:lnTo>
                  <a:lnTo>
                    <a:pt x="0" y="12128"/>
                  </a:lnTo>
                  <a:lnTo>
                    <a:pt x="42367" y="12128"/>
                  </a:lnTo>
                  <a:lnTo>
                    <a:pt x="42367" y="0"/>
                  </a:lnTo>
                  <a:close/>
                </a:path>
              </a:pathLst>
            </a:custGeom>
            <a:solidFill>
              <a:srgbClr val="002E6E"/>
            </a:solidFill>
          </p:spPr>
          <p:txBody>
            <a:bodyPr wrap="square" lIns="0" tIns="0" rIns="0" bIns="0" rtlCol="0"/>
            <a:lstStyle/>
            <a:p>
              <a:endParaRPr dirty="0"/>
            </a:p>
          </p:txBody>
        </p:sp>
        <p:pic>
          <p:nvPicPr>
            <p:cNvPr id="16" name="bg object 28">
              <a:extLst>
                <a:ext uri="{FF2B5EF4-FFF2-40B4-BE49-F238E27FC236}">
                  <a16:creationId xmlns:a16="http://schemas.microsoft.com/office/drawing/2014/main" id="{9E74572D-1D1B-8CB7-C3F1-2591D2ECA09D}"/>
                </a:ext>
              </a:extLst>
            </p:cNvPr>
            <p:cNvPicPr/>
            <p:nvPr/>
          </p:nvPicPr>
          <p:blipFill>
            <a:blip r:embed="rId10" cstate="screen">
              <a:extLst>
                <a:ext uri="{28A0092B-C50C-407E-A947-70E740481C1C}">
                  <a14:useLocalDpi xmlns:a14="http://schemas.microsoft.com/office/drawing/2010/main"/>
                </a:ext>
              </a:extLst>
            </a:blip>
            <a:stretch>
              <a:fillRect/>
            </a:stretch>
          </p:blipFill>
          <p:spPr>
            <a:xfrm>
              <a:off x="10417230" y="6102742"/>
              <a:ext cx="121831" cy="83553"/>
            </a:xfrm>
            <a:prstGeom prst="rect">
              <a:avLst/>
            </a:prstGeom>
          </p:spPr>
        </p:pic>
        <p:pic>
          <p:nvPicPr>
            <p:cNvPr id="17" name="bg object 29">
              <a:extLst>
                <a:ext uri="{FF2B5EF4-FFF2-40B4-BE49-F238E27FC236}">
                  <a16:creationId xmlns:a16="http://schemas.microsoft.com/office/drawing/2014/main" id="{1AC6C651-7622-B134-237F-4F18D3D03AB9}"/>
                </a:ext>
              </a:extLst>
            </p:cNvPr>
            <p:cNvPicPr/>
            <p:nvPr/>
          </p:nvPicPr>
          <p:blipFill>
            <a:blip r:embed="rId11" cstate="screen">
              <a:extLst>
                <a:ext uri="{28A0092B-C50C-407E-A947-70E740481C1C}">
                  <a14:useLocalDpi xmlns:a14="http://schemas.microsoft.com/office/drawing/2010/main"/>
                </a:ext>
              </a:extLst>
            </a:blip>
            <a:stretch>
              <a:fillRect/>
            </a:stretch>
          </p:blipFill>
          <p:spPr>
            <a:xfrm>
              <a:off x="10651768" y="6104832"/>
              <a:ext cx="67665" cy="79375"/>
            </a:xfrm>
            <a:prstGeom prst="rect">
              <a:avLst/>
            </a:prstGeom>
          </p:spPr>
        </p:pic>
        <p:pic>
          <p:nvPicPr>
            <p:cNvPr id="18" name="bg object 30">
              <a:extLst>
                <a:ext uri="{FF2B5EF4-FFF2-40B4-BE49-F238E27FC236}">
                  <a16:creationId xmlns:a16="http://schemas.microsoft.com/office/drawing/2014/main" id="{FEFBFD17-E97F-7C88-F1A9-C21E7A2B0424}"/>
                </a:ext>
              </a:extLst>
            </p:cNvPr>
            <p:cNvPicPr/>
            <p:nvPr/>
          </p:nvPicPr>
          <p:blipFill>
            <a:blip r:embed="rId12" cstate="screen">
              <a:extLst>
                <a:ext uri="{28A0092B-C50C-407E-A947-70E740481C1C}">
                  <a14:useLocalDpi xmlns:a14="http://schemas.microsoft.com/office/drawing/2010/main"/>
                </a:ext>
              </a:extLst>
            </a:blip>
            <a:stretch>
              <a:fillRect/>
            </a:stretch>
          </p:blipFill>
          <p:spPr>
            <a:xfrm>
              <a:off x="10836457" y="6102751"/>
              <a:ext cx="113156" cy="83045"/>
            </a:xfrm>
            <a:prstGeom prst="rect">
              <a:avLst/>
            </a:prstGeom>
          </p:spPr>
        </p:pic>
        <p:pic>
          <p:nvPicPr>
            <p:cNvPr id="19" name="bg object 31">
              <a:extLst>
                <a:ext uri="{FF2B5EF4-FFF2-40B4-BE49-F238E27FC236}">
                  <a16:creationId xmlns:a16="http://schemas.microsoft.com/office/drawing/2014/main" id="{B707BC81-EF2E-D53B-8A3B-076AA7299AE4}"/>
                </a:ext>
              </a:extLst>
            </p:cNvPr>
            <p:cNvPicPr/>
            <p:nvPr/>
          </p:nvPicPr>
          <p:blipFill>
            <a:blip r:embed="rId13" cstate="screen">
              <a:extLst>
                <a:ext uri="{28A0092B-C50C-407E-A947-70E740481C1C}">
                  <a14:useLocalDpi xmlns:a14="http://schemas.microsoft.com/office/drawing/2010/main"/>
                </a:ext>
              </a:extLst>
            </a:blip>
            <a:stretch>
              <a:fillRect/>
            </a:stretch>
          </p:blipFill>
          <p:spPr>
            <a:xfrm>
              <a:off x="11068212" y="6104895"/>
              <a:ext cx="67691" cy="79336"/>
            </a:xfrm>
            <a:prstGeom prst="rect">
              <a:avLst/>
            </a:prstGeom>
          </p:spPr>
        </p:pic>
        <p:pic>
          <p:nvPicPr>
            <p:cNvPr id="20" name="bg object 32">
              <a:extLst>
                <a:ext uri="{FF2B5EF4-FFF2-40B4-BE49-F238E27FC236}">
                  <a16:creationId xmlns:a16="http://schemas.microsoft.com/office/drawing/2014/main" id="{6DE0EA01-E762-5EF6-14F4-AB3A3BFBD542}"/>
                </a:ext>
              </a:extLst>
            </p:cNvPr>
            <p:cNvPicPr/>
            <p:nvPr/>
          </p:nvPicPr>
          <p:blipFill>
            <a:blip r:embed="rId14" cstate="screen">
              <a:extLst>
                <a:ext uri="{28A0092B-C50C-407E-A947-70E740481C1C}">
                  <a14:useLocalDpi xmlns:a14="http://schemas.microsoft.com/office/drawing/2010/main"/>
                </a:ext>
              </a:extLst>
            </a:blip>
            <a:stretch>
              <a:fillRect/>
            </a:stretch>
          </p:blipFill>
          <p:spPr>
            <a:xfrm>
              <a:off x="11252978" y="6104909"/>
              <a:ext cx="88480" cy="79362"/>
            </a:xfrm>
            <a:prstGeom prst="rect">
              <a:avLst/>
            </a:prstGeom>
          </p:spPr>
        </p:pic>
        <p:pic>
          <p:nvPicPr>
            <p:cNvPr id="21" name="bg object 33">
              <a:extLst>
                <a:ext uri="{FF2B5EF4-FFF2-40B4-BE49-F238E27FC236}">
                  <a16:creationId xmlns:a16="http://schemas.microsoft.com/office/drawing/2014/main" id="{465EE4A4-D8C2-5213-C7F7-6E58339FC190}"/>
                </a:ext>
              </a:extLst>
            </p:cNvPr>
            <p:cNvPicPr/>
            <p:nvPr/>
          </p:nvPicPr>
          <p:blipFill>
            <a:blip r:embed="rId15" cstate="screen">
              <a:extLst>
                <a:ext uri="{28A0092B-C50C-407E-A947-70E740481C1C}">
                  <a14:useLocalDpi xmlns:a14="http://schemas.microsoft.com/office/drawing/2010/main"/>
                </a:ext>
              </a:extLst>
            </a:blip>
            <a:stretch>
              <a:fillRect/>
            </a:stretch>
          </p:blipFill>
          <p:spPr>
            <a:xfrm>
              <a:off x="11438938" y="6102833"/>
              <a:ext cx="120408" cy="81432"/>
            </a:xfrm>
            <a:prstGeom prst="rect">
              <a:avLst/>
            </a:prstGeom>
          </p:spPr>
        </p:pic>
        <p:sp>
          <p:nvSpPr>
            <p:cNvPr id="22" name="bg object 34">
              <a:extLst>
                <a:ext uri="{FF2B5EF4-FFF2-40B4-BE49-F238E27FC236}">
                  <a16:creationId xmlns:a16="http://schemas.microsoft.com/office/drawing/2014/main" id="{E86EC3B1-BC45-E74A-62E9-E4E67124B555}"/>
                </a:ext>
              </a:extLst>
            </p:cNvPr>
            <p:cNvSpPr/>
            <p:nvPr/>
          </p:nvSpPr>
          <p:spPr>
            <a:xfrm>
              <a:off x="11667210" y="6104944"/>
              <a:ext cx="61594" cy="79375"/>
            </a:xfrm>
            <a:custGeom>
              <a:avLst/>
              <a:gdLst/>
              <a:ahLst/>
              <a:cxnLst/>
              <a:rect l="l" t="t" r="r" b="b"/>
              <a:pathLst>
                <a:path w="61595" h="79375">
                  <a:moveTo>
                    <a:pt x="25488" y="0"/>
                  </a:moveTo>
                  <a:lnTo>
                    <a:pt x="0" y="0"/>
                  </a:lnTo>
                  <a:lnTo>
                    <a:pt x="0" y="79336"/>
                  </a:lnTo>
                  <a:lnTo>
                    <a:pt x="61594" y="79336"/>
                  </a:lnTo>
                  <a:lnTo>
                    <a:pt x="61594" y="65900"/>
                  </a:lnTo>
                  <a:lnTo>
                    <a:pt x="25488" y="65900"/>
                  </a:lnTo>
                  <a:lnTo>
                    <a:pt x="25488" y="0"/>
                  </a:lnTo>
                  <a:close/>
                </a:path>
              </a:pathLst>
            </a:custGeom>
            <a:solidFill>
              <a:srgbClr val="002E6E"/>
            </a:solidFill>
          </p:spPr>
          <p:txBody>
            <a:bodyPr wrap="square" lIns="0" tIns="0" rIns="0" bIns="0" rtlCol="0"/>
            <a:lstStyle/>
            <a:p>
              <a:endParaRPr dirty="0"/>
            </a:p>
          </p:txBody>
        </p:sp>
        <p:sp>
          <p:nvSpPr>
            <p:cNvPr id="23" name="bg object 35">
              <a:extLst>
                <a:ext uri="{FF2B5EF4-FFF2-40B4-BE49-F238E27FC236}">
                  <a16:creationId xmlns:a16="http://schemas.microsoft.com/office/drawing/2014/main" id="{A0DFA539-8E32-A565-FF1F-5F07FBAFAF03}"/>
                </a:ext>
              </a:extLst>
            </p:cNvPr>
            <p:cNvSpPr/>
            <p:nvPr/>
          </p:nvSpPr>
          <p:spPr>
            <a:xfrm>
              <a:off x="9615094" y="5254891"/>
              <a:ext cx="1346835" cy="575945"/>
            </a:xfrm>
            <a:custGeom>
              <a:avLst/>
              <a:gdLst/>
              <a:ahLst/>
              <a:cxnLst/>
              <a:rect l="l" t="t" r="r" b="b"/>
              <a:pathLst>
                <a:path w="1346834" h="575945">
                  <a:moveTo>
                    <a:pt x="500697" y="82600"/>
                  </a:moveTo>
                  <a:lnTo>
                    <a:pt x="472389" y="56705"/>
                  </a:lnTo>
                  <a:lnTo>
                    <a:pt x="462864" y="55041"/>
                  </a:lnTo>
                  <a:lnTo>
                    <a:pt x="455104" y="56248"/>
                  </a:lnTo>
                  <a:lnTo>
                    <a:pt x="450138" y="60363"/>
                  </a:lnTo>
                  <a:lnTo>
                    <a:pt x="449059" y="66738"/>
                  </a:lnTo>
                  <a:lnTo>
                    <a:pt x="451891" y="74079"/>
                  </a:lnTo>
                  <a:lnTo>
                    <a:pt x="458076" y="81508"/>
                  </a:lnTo>
                  <a:lnTo>
                    <a:pt x="467080" y="88150"/>
                  </a:lnTo>
                  <a:lnTo>
                    <a:pt x="477342" y="92646"/>
                  </a:lnTo>
                  <a:lnTo>
                    <a:pt x="486879" y="94297"/>
                  </a:lnTo>
                  <a:lnTo>
                    <a:pt x="494652" y="93078"/>
                  </a:lnTo>
                  <a:lnTo>
                    <a:pt x="499618" y="88963"/>
                  </a:lnTo>
                  <a:lnTo>
                    <a:pt x="500697" y="82600"/>
                  </a:lnTo>
                  <a:close/>
                </a:path>
                <a:path w="1346834" h="575945">
                  <a:moveTo>
                    <a:pt x="1346377" y="282803"/>
                  </a:moveTo>
                  <a:lnTo>
                    <a:pt x="1331620" y="221462"/>
                  </a:lnTo>
                  <a:lnTo>
                    <a:pt x="1289367" y="164579"/>
                  </a:lnTo>
                  <a:lnTo>
                    <a:pt x="1258874" y="138226"/>
                  </a:lnTo>
                  <a:lnTo>
                    <a:pt x="1222667" y="113499"/>
                  </a:lnTo>
                  <a:lnTo>
                    <a:pt x="1181087" y="90551"/>
                  </a:lnTo>
                  <a:lnTo>
                    <a:pt x="1134541" y="69583"/>
                  </a:lnTo>
                  <a:lnTo>
                    <a:pt x="1083411" y="50723"/>
                  </a:lnTo>
                  <a:lnTo>
                    <a:pt x="1028065" y="34175"/>
                  </a:lnTo>
                  <a:lnTo>
                    <a:pt x="968895" y="20091"/>
                  </a:lnTo>
                  <a:lnTo>
                    <a:pt x="906259" y="8648"/>
                  </a:lnTo>
                  <a:lnTo>
                    <a:pt x="840562" y="0"/>
                  </a:lnTo>
                  <a:lnTo>
                    <a:pt x="902233" y="14376"/>
                  </a:lnTo>
                  <a:lnTo>
                    <a:pt x="958926" y="31851"/>
                  </a:lnTo>
                  <a:lnTo>
                    <a:pt x="1010056" y="52158"/>
                  </a:lnTo>
                  <a:lnTo>
                    <a:pt x="1055001" y="75044"/>
                  </a:lnTo>
                  <a:lnTo>
                    <a:pt x="1093152" y="100241"/>
                  </a:lnTo>
                  <a:lnTo>
                    <a:pt x="1123886" y="127495"/>
                  </a:lnTo>
                  <a:lnTo>
                    <a:pt x="1160665" y="187058"/>
                  </a:lnTo>
                  <a:lnTo>
                    <a:pt x="1165491" y="218859"/>
                  </a:lnTo>
                  <a:lnTo>
                    <a:pt x="1161732" y="246964"/>
                  </a:lnTo>
                  <a:lnTo>
                    <a:pt x="1132903" y="300113"/>
                  </a:lnTo>
                  <a:lnTo>
                    <a:pt x="1078471" y="348018"/>
                  </a:lnTo>
                  <a:lnTo>
                    <a:pt x="1042695" y="369544"/>
                  </a:lnTo>
                  <a:lnTo>
                    <a:pt x="1001776" y="389216"/>
                  </a:lnTo>
                  <a:lnTo>
                    <a:pt x="956132" y="406857"/>
                  </a:lnTo>
                  <a:lnTo>
                    <a:pt x="906170" y="422275"/>
                  </a:lnTo>
                  <a:lnTo>
                    <a:pt x="852335" y="435292"/>
                  </a:lnTo>
                  <a:lnTo>
                    <a:pt x="795032" y="445731"/>
                  </a:lnTo>
                  <a:lnTo>
                    <a:pt x="734669" y="453415"/>
                  </a:lnTo>
                  <a:lnTo>
                    <a:pt x="671690" y="458165"/>
                  </a:lnTo>
                  <a:lnTo>
                    <a:pt x="606488" y="459778"/>
                  </a:lnTo>
                  <a:lnTo>
                    <a:pt x="541299" y="458165"/>
                  </a:lnTo>
                  <a:lnTo>
                    <a:pt x="478320" y="453415"/>
                  </a:lnTo>
                  <a:lnTo>
                    <a:pt x="417969" y="445731"/>
                  </a:lnTo>
                  <a:lnTo>
                    <a:pt x="360654" y="435292"/>
                  </a:lnTo>
                  <a:lnTo>
                    <a:pt x="306819" y="422275"/>
                  </a:lnTo>
                  <a:lnTo>
                    <a:pt x="256870" y="406857"/>
                  </a:lnTo>
                  <a:lnTo>
                    <a:pt x="211213" y="389216"/>
                  </a:lnTo>
                  <a:lnTo>
                    <a:pt x="170294" y="369544"/>
                  </a:lnTo>
                  <a:lnTo>
                    <a:pt x="134518" y="348018"/>
                  </a:lnTo>
                  <a:lnTo>
                    <a:pt x="80073" y="300113"/>
                  </a:lnTo>
                  <a:lnTo>
                    <a:pt x="51244" y="246964"/>
                  </a:lnTo>
                  <a:lnTo>
                    <a:pt x="47485" y="218859"/>
                  </a:lnTo>
                  <a:lnTo>
                    <a:pt x="48793" y="202323"/>
                  </a:lnTo>
                  <a:lnTo>
                    <a:pt x="52628" y="186093"/>
                  </a:lnTo>
                  <a:lnTo>
                    <a:pt x="58928" y="170180"/>
                  </a:lnTo>
                  <a:lnTo>
                    <a:pt x="67576" y="154622"/>
                  </a:lnTo>
                  <a:lnTo>
                    <a:pt x="38773" y="184505"/>
                  </a:lnTo>
                  <a:lnTo>
                    <a:pt x="17564" y="215976"/>
                  </a:lnTo>
                  <a:lnTo>
                    <a:pt x="4483" y="248818"/>
                  </a:lnTo>
                  <a:lnTo>
                    <a:pt x="0" y="282803"/>
                  </a:lnTo>
                  <a:lnTo>
                    <a:pt x="3086" y="311035"/>
                  </a:lnTo>
                  <a:lnTo>
                    <a:pt x="26885" y="365086"/>
                  </a:lnTo>
                  <a:lnTo>
                    <a:pt x="72339" y="415124"/>
                  </a:lnTo>
                  <a:lnTo>
                    <a:pt x="137172" y="460171"/>
                  </a:lnTo>
                  <a:lnTo>
                    <a:pt x="176149" y="480504"/>
                  </a:lnTo>
                  <a:lnTo>
                    <a:pt x="219138" y="499224"/>
                  </a:lnTo>
                  <a:lnTo>
                    <a:pt x="265836" y="516204"/>
                  </a:lnTo>
                  <a:lnTo>
                    <a:pt x="315976" y="531304"/>
                  </a:lnTo>
                  <a:lnTo>
                    <a:pt x="369265" y="544436"/>
                  </a:lnTo>
                  <a:lnTo>
                    <a:pt x="425424" y="555447"/>
                  </a:lnTo>
                  <a:lnTo>
                    <a:pt x="484187" y="564222"/>
                  </a:lnTo>
                  <a:lnTo>
                    <a:pt x="545249" y="570649"/>
                  </a:lnTo>
                  <a:lnTo>
                    <a:pt x="608330" y="574598"/>
                  </a:lnTo>
                  <a:lnTo>
                    <a:pt x="673163" y="575932"/>
                  </a:lnTo>
                  <a:lnTo>
                    <a:pt x="738009" y="574598"/>
                  </a:lnTo>
                  <a:lnTo>
                    <a:pt x="801103" y="570649"/>
                  </a:lnTo>
                  <a:lnTo>
                    <a:pt x="862164" y="564222"/>
                  </a:lnTo>
                  <a:lnTo>
                    <a:pt x="920927" y="555447"/>
                  </a:lnTo>
                  <a:lnTo>
                    <a:pt x="977099" y="544436"/>
                  </a:lnTo>
                  <a:lnTo>
                    <a:pt x="1030389" y="531304"/>
                  </a:lnTo>
                  <a:lnTo>
                    <a:pt x="1080528" y="516204"/>
                  </a:lnTo>
                  <a:lnTo>
                    <a:pt x="1127239" y="499224"/>
                  </a:lnTo>
                  <a:lnTo>
                    <a:pt x="1170216" y="480504"/>
                  </a:lnTo>
                  <a:lnTo>
                    <a:pt x="1209205" y="460171"/>
                  </a:lnTo>
                  <a:lnTo>
                    <a:pt x="1243901" y="438340"/>
                  </a:lnTo>
                  <a:lnTo>
                    <a:pt x="1299337" y="390677"/>
                  </a:lnTo>
                  <a:lnTo>
                    <a:pt x="1334249" y="338505"/>
                  </a:lnTo>
                  <a:lnTo>
                    <a:pt x="1343304" y="311035"/>
                  </a:lnTo>
                  <a:lnTo>
                    <a:pt x="1346377" y="282803"/>
                  </a:lnTo>
                  <a:close/>
                </a:path>
              </a:pathLst>
            </a:custGeom>
            <a:solidFill>
              <a:srgbClr val="002E6E"/>
            </a:solidFill>
          </p:spPr>
          <p:txBody>
            <a:bodyPr wrap="square" lIns="0" tIns="0" rIns="0" bIns="0" rtlCol="0"/>
            <a:lstStyle/>
            <a:p>
              <a:endParaRPr dirty="0"/>
            </a:p>
          </p:txBody>
        </p:sp>
        <p:sp>
          <p:nvSpPr>
            <p:cNvPr id="24" name="bg object 36">
              <a:extLst>
                <a:ext uri="{FF2B5EF4-FFF2-40B4-BE49-F238E27FC236}">
                  <a16:creationId xmlns:a16="http://schemas.microsoft.com/office/drawing/2014/main" id="{70BA8CB8-E61F-474E-F9AF-BB6E1EFA2414}"/>
                </a:ext>
              </a:extLst>
            </p:cNvPr>
            <p:cNvSpPr/>
            <p:nvPr/>
          </p:nvSpPr>
          <p:spPr>
            <a:xfrm>
              <a:off x="10176852" y="4940649"/>
              <a:ext cx="192405" cy="146050"/>
            </a:xfrm>
            <a:custGeom>
              <a:avLst/>
              <a:gdLst/>
              <a:ahLst/>
              <a:cxnLst/>
              <a:rect l="l" t="t" r="r" b="b"/>
              <a:pathLst>
                <a:path w="192404" h="146050">
                  <a:moveTo>
                    <a:pt x="51370" y="0"/>
                  </a:moveTo>
                  <a:lnTo>
                    <a:pt x="22492" y="4514"/>
                  </a:lnTo>
                  <a:lnTo>
                    <a:pt x="4045" y="19802"/>
                  </a:lnTo>
                  <a:lnTo>
                    <a:pt x="0" y="43459"/>
                  </a:lnTo>
                  <a:lnTo>
                    <a:pt x="10514" y="70759"/>
                  </a:lnTo>
                  <a:lnTo>
                    <a:pt x="33561" y="98371"/>
                  </a:lnTo>
                  <a:lnTo>
                    <a:pt x="67113" y="122964"/>
                  </a:lnTo>
                  <a:lnTo>
                    <a:pt x="105156" y="139705"/>
                  </a:lnTo>
                  <a:lnTo>
                    <a:pt x="140576" y="145862"/>
                  </a:lnTo>
                  <a:lnTo>
                    <a:pt x="169472" y="141341"/>
                  </a:lnTo>
                  <a:lnTo>
                    <a:pt x="187941" y="126050"/>
                  </a:lnTo>
                  <a:lnTo>
                    <a:pt x="191954" y="102398"/>
                  </a:lnTo>
                  <a:lnTo>
                    <a:pt x="181432" y="75107"/>
                  </a:lnTo>
                  <a:lnTo>
                    <a:pt x="158394" y="47497"/>
                  </a:lnTo>
                  <a:lnTo>
                    <a:pt x="124860" y="22888"/>
                  </a:lnTo>
                  <a:lnTo>
                    <a:pt x="86789" y="6157"/>
                  </a:lnTo>
                  <a:lnTo>
                    <a:pt x="51370" y="0"/>
                  </a:lnTo>
                  <a:close/>
                </a:path>
              </a:pathLst>
            </a:custGeom>
            <a:solidFill>
              <a:srgbClr val="00A88E"/>
            </a:solidFill>
          </p:spPr>
          <p:txBody>
            <a:bodyPr wrap="square" lIns="0" tIns="0" rIns="0" bIns="0" rtlCol="0"/>
            <a:lstStyle/>
            <a:p>
              <a:endParaRPr dirty="0"/>
            </a:p>
          </p:txBody>
        </p:sp>
        <p:sp>
          <p:nvSpPr>
            <p:cNvPr id="25" name="bg object 37">
              <a:extLst>
                <a:ext uri="{FF2B5EF4-FFF2-40B4-BE49-F238E27FC236}">
                  <a16:creationId xmlns:a16="http://schemas.microsoft.com/office/drawing/2014/main" id="{CEEDFC38-2FDA-9F9B-5EFC-3001AD6AF38F}"/>
                </a:ext>
              </a:extLst>
            </p:cNvPr>
            <p:cNvSpPr/>
            <p:nvPr/>
          </p:nvSpPr>
          <p:spPr>
            <a:xfrm>
              <a:off x="10130980" y="5104840"/>
              <a:ext cx="125095" cy="95250"/>
            </a:xfrm>
            <a:custGeom>
              <a:avLst/>
              <a:gdLst/>
              <a:ahLst/>
              <a:cxnLst/>
              <a:rect l="l" t="t" r="r" b="b"/>
              <a:pathLst>
                <a:path w="125095" h="95250">
                  <a:moveTo>
                    <a:pt x="33409" y="0"/>
                  </a:moveTo>
                  <a:lnTo>
                    <a:pt x="14618" y="2948"/>
                  </a:lnTo>
                  <a:lnTo>
                    <a:pt x="2604" y="12904"/>
                  </a:lnTo>
                  <a:lnTo>
                    <a:pt x="0" y="28286"/>
                  </a:lnTo>
                  <a:lnTo>
                    <a:pt x="6850" y="46020"/>
                  </a:lnTo>
                  <a:lnTo>
                    <a:pt x="21833" y="63954"/>
                  </a:lnTo>
                  <a:lnTo>
                    <a:pt x="43625" y="79935"/>
                  </a:lnTo>
                  <a:lnTo>
                    <a:pt x="68375" y="90823"/>
                  </a:lnTo>
                  <a:lnTo>
                    <a:pt x="91402" y="94830"/>
                  </a:lnTo>
                  <a:lnTo>
                    <a:pt x="110161" y="91892"/>
                  </a:lnTo>
                  <a:lnTo>
                    <a:pt x="122111" y="81941"/>
                  </a:lnTo>
                  <a:lnTo>
                    <a:pt x="124755" y="66564"/>
                  </a:lnTo>
                  <a:lnTo>
                    <a:pt x="117932" y="48825"/>
                  </a:lnTo>
                  <a:lnTo>
                    <a:pt x="102965" y="30883"/>
                  </a:lnTo>
                  <a:lnTo>
                    <a:pt x="81178" y="14898"/>
                  </a:lnTo>
                  <a:lnTo>
                    <a:pt x="56441" y="4001"/>
                  </a:lnTo>
                  <a:lnTo>
                    <a:pt x="33409" y="0"/>
                  </a:lnTo>
                  <a:close/>
                </a:path>
              </a:pathLst>
            </a:custGeom>
            <a:solidFill>
              <a:srgbClr val="002E6E"/>
            </a:solidFill>
          </p:spPr>
          <p:txBody>
            <a:bodyPr wrap="square" lIns="0" tIns="0" rIns="0" bIns="0" rtlCol="0"/>
            <a:lstStyle/>
            <a:p>
              <a:endParaRPr dirty="0"/>
            </a:p>
          </p:txBody>
        </p:sp>
        <p:pic>
          <p:nvPicPr>
            <p:cNvPr id="26" name="bg object 38">
              <a:extLst>
                <a:ext uri="{FF2B5EF4-FFF2-40B4-BE49-F238E27FC236}">
                  <a16:creationId xmlns:a16="http://schemas.microsoft.com/office/drawing/2014/main" id="{2E337710-B2C4-EF1E-CA35-D05EF784555F}"/>
                </a:ext>
              </a:extLst>
            </p:cNvPr>
            <p:cNvPicPr/>
            <p:nvPr/>
          </p:nvPicPr>
          <p:blipFill>
            <a:blip r:embed="rId16" cstate="screen">
              <a:extLst>
                <a:ext uri="{28A0092B-C50C-407E-A947-70E740481C1C}">
                  <a14:useLocalDpi xmlns:a14="http://schemas.microsoft.com/office/drawing/2010/main"/>
                </a:ext>
              </a:extLst>
            </a:blip>
            <a:stretch>
              <a:fillRect/>
            </a:stretch>
          </p:blipFill>
          <p:spPr>
            <a:xfrm>
              <a:off x="10090597" y="5220781"/>
              <a:ext cx="86053" cy="65406"/>
            </a:xfrm>
            <a:prstGeom prst="rect">
              <a:avLst/>
            </a:prstGeom>
          </p:spPr>
        </p:pic>
        <p:sp>
          <p:nvSpPr>
            <p:cNvPr id="27" name="bg object 39">
              <a:extLst>
                <a:ext uri="{FF2B5EF4-FFF2-40B4-BE49-F238E27FC236}">
                  <a16:creationId xmlns:a16="http://schemas.microsoft.com/office/drawing/2014/main" id="{2D1542CC-2D46-03B0-781D-3AE723D5152E}"/>
                </a:ext>
              </a:extLst>
            </p:cNvPr>
            <p:cNvSpPr/>
            <p:nvPr/>
          </p:nvSpPr>
          <p:spPr>
            <a:xfrm>
              <a:off x="10118708" y="4902858"/>
              <a:ext cx="52705" cy="38735"/>
            </a:xfrm>
            <a:custGeom>
              <a:avLst/>
              <a:gdLst/>
              <a:ahLst/>
              <a:cxnLst/>
              <a:rect l="l" t="t" r="r" b="b"/>
              <a:pathLst>
                <a:path w="52704" h="38735">
                  <a:moveTo>
                    <a:pt x="15172" y="0"/>
                  </a:moveTo>
                  <a:lnTo>
                    <a:pt x="6999" y="995"/>
                  </a:lnTo>
                  <a:lnTo>
                    <a:pt x="1537" y="4841"/>
                  </a:lnTo>
                  <a:lnTo>
                    <a:pt x="0" y="10938"/>
                  </a:lnTo>
                  <a:lnTo>
                    <a:pt x="2447" y="18057"/>
                  </a:lnTo>
                  <a:lnTo>
                    <a:pt x="8383" y="25331"/>
                  </a:lnTo>
                  <a:lnTo>
                    <a:pt x="17311" y="31892"/>
                  </a:lnTo>
                  <a:lnTo>
                    <a:pt x="27650" y="36458"/>
                  </a:lnTo>
                  <a:lnTo>
                    <a:pt x="37435" y="38260"/>
                  </a:lnTo>
                  <a:lnTo>
                    <a:pt x="45594" y="37259"/>
                  </a:lnTo>
                  <a:lnTo>
                    <a:pt x="51054" y="33416"/>
                  </a:lnTo>
                  <a:lnTo>
                    <a:pt x="52607" y="27327"/>
                  </a:lnTo>
                  <a:lnTo>
                    <a:pt x="50156" y="20212"/>
                  </a:lnTo>
                  <a:lnTo>
                    <a:pt x="44214" y="12939"/>
                  </a:lnTo>
                  <a:lnTo>
                    <a:pt x="35294" y="6378"/>
                  </a:lnTo>
                  <a:lnTo>
                    <a:pt x="24967" y="1809"/>
                  </a:lnTo>
                  <a:lnTo>
                    <a:pt x="15172" y="0"/>
                  </a:lnTo>
                  <a:close/>
                </a:path>
              </a:pathLst>
            </a:custGeom>
            <a:solidFill>
              <a:srgbClr val="002E6E"/>
            </a:solidFill>
          </p:spPr>
          <p:txBody>
            <a:bodyPr wrap="square" lIns="0" tIns="0" rIns="0" bIns="0" rtlCol="0"/>
            <a:lstStyle/>
            <a:p>
              <a:endParaRPr dirty="0"/>
            </a:p>
          </p:txBody>
        </p:sp>
        <p:sp>
          <p:nvSpPr>
            <p:cNvPr id="28" name="bg object 40">
              <a:extLst>
                <a:ext uri="{FF2B5EF4-FFF2-40B4-BE49-F238E27FC236}">
                  <a16:creationId xmlns:a16="http://schemas.microsoft.com/office/drawing/2014/main" id="{6B82AAD7-C449-3238-40FD-D3B8DBF2FB26}"/>
                </a:ext>
              </a:extLst>
            </p:cNvPr>
            <p:cNvSpPr/>
            <p:nvPr/>
          </p:nvSpPr>
          <p:spPr>
            <a:xfrm>
              <a:off x="9735908" y="5090885"/>
              <a:ext cx="195580" cy="142240"/>
            </a:xfrm>
            <a:custGeom>
              <a:avLst/>
              <a:gdLst/>
              <a:ahLst/>
              <a:cxnLst/>
              <a:rect l="l" t="t" r="r" b="b"/>
              <a:pathLst>
                <a:path w="195579" h="142239">
                  <a:moveTo>
                    <a:pt x="56323" y="0"/>
                  </a:moveTo>
                  <a:lnTo>
                    <a:pt x="25997" y="3690"/>
                  </a:lnTo>
                  <a:lnTo>
                    <a:pt x="5767" y="17973"/>
                  </a:lnTo>
                  <a:lnTo>
                    <a:pt x="0" y="40630"/>
                  </a:lnTo>
                  <a:lnTo>
                    <a:pt x="9090" y="67103"/>
                  </a:lnTo>
                  <a:lnTo>
                    <a:pt x="31165" y="94158"/>
                  </a:lnTo>
                  <a:lnTo>
                    <a:pt x="64352" y="118557"/>
                  </a:lnTo>
                  <a:lnTo>
                    <a:pt x="102776" y="135485"/>
                  </a:lnTo>
                  <a:lnTo>
                    <a:pt x="139162" y="142193"/>
                  </a:lnTo>
                  <a:lnTo>
                    <a:pt x="169480" y="138494"/>
                  </a:lnTo>
                  <a:lnTo>
                    <a:pt x="189701" y="124196"/>
                  </a:lnTo>
                  <a:lnTo>
                    <a:pt x="195470" y="101563"/>
                  </a:lnTo>
                  <a:lnTo>
                    <a:pt x="186375" y="75104"/>
                  </a:lnTo>
                  <a:lnTo>
                    <a:pt x="164311" y="48054"/>
                  </a:lnTo>
                  <a:lnTo>
                    <a:pt x="131167" y="23650"/>
                  </a:lnTo>
                  <a:lnTo>
                    <a:pt x="92721" y="6715"/>
                  </a:lnTo>
                  <a:lnTo>
                    <a:pt x="56323" y="0"/>
                  </a:lnTo>
                  <a:close/>
                </a:path>
              </a:pathLst>
            </a:custGeom>
            <a:solidFill>
              <a:srgbClr val="00A88E"/>
            </a:solidFill>
          </p:spPr>
          <p:txBody>
            <a:bodyPr wrap="square" lIns="0" tIns="0" rIns="0" bIns="0" rtlCol="0"/>
            <a:lstStyle/>
            <a:p>
              <a:endParaRPr dirty="0"/>
            </a:p>
          </p:txBody>
        </p:sp>
        <p:sp>
          <p:nvSpPr>
            <p:cNvPr id="29" name="bg object 41">
              <a:extLst>
                <a:ext uri="{FF2B5EF4-FFF2-40B4-BE49-F238E27FC236}">
                  <a16:creationId xmlns:a16="http://schemas.microsoft.com/office/drawing/2014/main" id="{8CC022A0-E252-03B1-7A4F-1AC05734F938}"/>
                </a:ext>
              </a:extLst>
            </p:cNvPr>
            <p:cNvSpPr/>
            <p:nvPr/>
          </p:nvSpPr>
          <p:spPr>
            <a:xfrm>
              <a:off x="9908641" y="4949215"/>
              <a:ext cx="204470" cy="158115"/>
            </a:xfrm>
            <a:custGeom>
              <a:avLst/>
              <a:gdLst/>
              <a:ahLst/>
              <a:cxnLst/>
              <a:rect l="l" t="t" r="r" b="b"/>
              <a:pathLst>
                <a:path w="204470" h="158114">
                  <a:moveTo>
                    <a:pt x="127025" y="131597"/>
                  </a:moveTo>
                  <a:lnTo>
                    <a:pt x="106781" y="96799"/>
                  </a:lnTo>
                  <a:lnTo>
                    <a:pt x="60248" y="69913"/>
                  </a:lnTo>
                  <a:lnTo>
                    <a:pt x="36588" y="65557"/>
                  </a:lnTo>
                  <a:lnTo>
                    <a:pt x="16891" y="67957"/>
                  </a:lnTo>
                  <a:lnTo>
                    <a:pt x="3771" y="77254"/>
                  </a:lnTo>
                  <a:lnTo>
                    <a:pt x="0" y="91973"/>
                  </a:lnTo>
                  <a:lnTo>
                    <a:pt x="5892" y="109156"/>
                  </a:lnTo>
                  <a:lnTo>
                    <a:pt x="20231" y="126733"/>
                  </a:lnTo>
                  <a:lnTo>
                    <a:pt x="41795" y="142595"/>
                  </a:lnTo>
                  <a:lnTo>
                    <a:pt x="66776" y="153631"/>
                  </a:lnTo>
                  <a:lnTo>
                    <a:pt x="90449" y="158000"/>
                  </a:lnTo>
                  <a:lnTo>
                    <a:pt x="110159" y="155600"/>
                  </a:lnTo>
                  <a:lnTo>
                    <a:pt x="123304" y="146316"/>
                  </a:lnTo>
                  <a:lnTo>
                    <a:pt x="127025" y="131597"/>
                  </a:lnTo>
                  <a:close/>
                </a:path>
                <a:path w="204470" h="158114">
                  <a:moveTo>
                    <a:pt x="204063" y="45542"/>
                  </a:moveTo>
                  <a:lnTo>
                    <a:pt x="175221" y="10591"/>
                  </a:lnTo>
                  <a:lnTo>
                    <a:pt x="141655" y="0"/>
                  </a:lnTo>
                  <a:lnTo>
                    <a:pt x="128066" y="1663"/>
                  </a:lnTo>
                  <a:lnTo>
                    <a:pt x="119011" y="8089"/>
                  </a:lnTo>
                  <a:lnTo>
                    <a:pt x="116408" y="18224"/>
                  </a:lnTo>
                  <a:lnTo>
                    <a:pt x="120472" y="30073"/>
                  </a:lnTo>
                  <a:lnTo>
                    <a:pt x="130365" y="42214"/>
                  </a:lnTo>
                  <a:lnTo>
                    <a:pt x="145237" y="53187"/>
                  </a:lnTo>
                  <a:lnTo>
                    <a:pt x="162471" y="60782"/>
                  </a:lnTo>
                  <a:lnTo>
                    <a:pt x="178790" y="63779"/>
                  </a:lnTo>
                  <a:lnTo>
                    <a:pt x="192392" y="62115"/>
                  </a:lnTo>
                  <a:lnTo>
                    <a:pt x="201472" y="55689"/>
                  </a:lnTo>
                  <a:lnTo>
                    <a:pt x="204063" y="45542"/>
                  </a:lnTo>
                  <a:close/>
                </a:path>
              </a:pathLst>
            </a:custGeom>
            <a:solidFill>
              <a:srgbClr val="002E6E"/>
            </a:solidFill>
          </p:spPr>
          <p:txBody>
            <a:bodyPr wrap="square" lIns="0" tIns="0" rIns="0" bIns="0" rtlCol="0"/>
            <a:lstStyle/>
            <a:p>
              <a:endParaRPr dirty="0"/>
            </a:p>
          </p:txBody>
        </p:sp>
        <p:sp>
          <p:nvSpPr>
            <p:cNvPr id="30" name="bg object 42">
              <a:extLst>
                <a:ext uri="{FF2B5EF4-FFF2-40B4-BE49-F238E27FC236}">
                  <a16:creationId xmlns:a16="http://schemas.microsoft.com/office/drawing/2014/main" id="{5D3AE6EC-D0A1-0F1B-5251-70D3BD28D914}"/>
                </a:ext>
              </a:extLst>
            </p:cNvPr>
            <p:cNvSpPr/>
            <p:nvPr/>
          </p:nvSpPr>
          <p:spPr>
            <a:xfrm>
              <a:off x="10391381" y="5055538"/>
              <a:ext cx="50800" cy="40640"/>
            </a:xfrm>
            <a:custGeom>
              <a:avLst/>
              <a:gdLst/>
              <a:ahLst/>
              <a:cxnLst/>
              <a:rect l="l" t="t" r="r" b="b"/>
              <a:pathLst>
                <a:path w="50800" h="40639">
                  <a:moveTo>
                    <a:pt x="12469" y="0"/>
                  </a:moveTo>
                  <a:lnTo>
                    <a:pt x="5089" y="1439"/>
                  </a:lnTo>
                  <a:lnTo>
                    <a:pt x="609" y="5835"/>
                  </a:lnTo>
                  <a:lnTo>
                    <a:pt x="0" y="12455"/>
                  </a:lnTo>
                  <a:lnTo>
                    <a:pt x="3211" y="20018"/>
                  </a:lnTo>
                  <a:lnTo>
                    <a:pt x="9658" y="27595"/>
                  </a:lnTo>
                  <a:lnTo>
                    <a:pt x="18757" y="34258"/>
                  </a:lnTo>
                  <a:lnTo>
                    <a:pt x="28910" y="38732"/>
                  </a:lnTo>
                  <a:lnTo>
                    <a:pt x="38179" y="40247"/>
                  </a:lnTo>
                  <a:lnTo>
                    <a:pt x="45557" y="38803"/>
                  </a:lnTo>
                  <a:lnTo>
                    <a:pt x="50037" y="34397"/>
                  </a:lnTo>
                  <a:lnTo>
                    <a:pt x="50654" y="27770"/>
                  </a:lnTo>
                  <a:lnTo>
                    <a:pt x="47456" y="20215"/>
                  </a:lnTo>
                  <a:lnTo>
                    <a:pt x="41015" y="12645"/>
                  </a:lnTo>
                  <a:lnTo>
                    <a:pt x="31902" y="5975"/>
                  </a:lnTo>
                  <a:lnTo>
                    <a:pt x="21742" y="1513"/>
                  </a:lnTo>
                  <a:lnTo>
                    <a:pt x="12469" y="0"/>
                  </a:lnTo>
                  <a:close/>
                </a:path>
              </a:pathLst>
            </a:custGeom>
            <a:solidFill>
              <a:srgbClr val="002E6E"/>
            </a:solidFill>
          </p:spPr>
          <p:txBody>
            <a:bodyPr wrap="square" lIns="0" tIns="0" rIns="0" bIns="0" rtlCol="0"/>
            <a:lstStyle/>
            <a:p>
              <a:endParaRPr dirty="0"/>
            </a:p>
          </p:txBody>
        </p:sp>
        <p:pic>
          <p:nvPicPr>
            <p:cNvPr id="31" name="bg object 43">
              <a:extLst>
                <a:ext uri="{FF2B5EF4-FFF2-40B4-BE49-F238E27FC236}">
                  <a16:creationId xmlns:a16="http://schemas.microsoft.com/office/drawing/2014/main" id="{DB9C264E-8476-BB52-D018-8BEF860704EE}"/>
                </a:ext>
              </a:extLst>
            </p:cNvPr>
            <p:cNvPicPr/>
            <p:nvPr/>
          </p:nvPicPr>
          <p:blipFill>
            <a:blip r:embed="rId17" cstate="screen">
              <a:extLst>
                <a:ext uri="{28A0092B-C50C-407E-A947-70E740481C1C}">
                  <a14:useLocalDpi xmlns:a14="http://schemas.microsoft.com/office/drawing/2010/main"/>
                </a:ext>
              </a:extLst>
            </a:blip>
            <a:stretch>
              <a:fillRect/>
            </a:stretch>
          </p:blipFill>
          <p:spPr>
            <a:xfrm>
              <a:off x="10269525" y="5391859"/>
              <a:ext cx="188494" cy="149547"/>
            </a:xfrm>
            <a:prstGeom prst="rect">
              <a:avLst/>
            </a:prstGeom>
          </p:spPr>
        </p:pic>
        <p:sp>
          <p:nvSpPr>
            <p:cNvPr id="32" name="bg object 44">
              <a:extLst>
                <a:ext uri="{FF2B5EF4-FFF2-40B4-BE49-F238E27FC236}">
                  <a16:creationId xmlns:a16="http://schemas.microsoft.com/office/drawing/2014/main" id="{900B95D0-EDDB-6A27-D44B-499D15CE9944}"/>
                </a:ext>
              </a:extLst>
            </p:cNvPr>
            <p:cNvSpPr/>
            <p:nvPr/>
          </p:nvSpPr>
          <p:spPr>
            <a:xfrm>
              <a:off x="10321494" y="5137619"/>
              <a:ext cx="124460" cy="206375"/>
            </a:xfrm>
            <a:custGeom>
              <a:avLst/>
              <a:gdLst/>
              <a:ahLst/>
              <a:cxnLst/>
              <a:rect l="l" t="t" r="r" b="b"/>
              <a:pathLst>
                <a:path w="124459" h="206375">
                  <a:moveTo>
                    <a:pt x="122529" y="175717"/>
                  </a:moveTo>
                  <a:lnTo>
                    <a:pt x="99148" y="139141"/>
                  </a:lnTo>
                  <a:lnTo>
                    <a:pt x="52616" y="112280"/>
                  </a:lnTo>
                  <a:lnTo>
                    <a:pt x="30200" y="108635"/>
                  </a:lnTo>
                  <a:lnTo>
                    <a:pt x="12331" y="112115"/>
                  </a:lnTo>
                  <a:lnTo>
                    <a:pt x="1447" y="122707"/>
                  </a:lnTo>
                  <a:lnTo>
                    <a:pt x="0" y="138747"/>
                  </a:lnTo>
                  <a:lnTo>
                    <a:pt x="7772" y="157022"/>
                  </a:lnTo>
                  <a:lnTo>
                    <a:pt x="23380" y="175323"/>
                  </a:lnTo>
                  <a:lnTo>
                    <a:pt x="45402" y="191452"/>
                  </a:lnTo>
                  <a:lnTo>
                    <a:pt x="69926" y="202196"/>
                  </a:lnTo>
                  <a:lnTo>
                    <a:pt x="92329" y="205828"/>
                  </a:lnTo>
                  <a:lnTo>
                    <a:pt x="110172" y="202349"/>
                  </a:lnTo>
                  <a:lnTo>
                    <a:pt x="121056" y="191731"/>
                  </a:lnTo>
                  <a:lnTo>
                    <a:pt x="122529" y="175717"/>
                  </a:lnTo>
                  <a:close/>
                </a:path>
                <a:path w="124459" h="206375">
                  <a:moveTo>
                    <a:pt x="124371" y="46266"/>
                  </a:moveTo>
                  <a:lnTo>
                    <a:pt x="93052" y="9893"/>
                  </a:lnTo>
                  <a:lnTo>
                    <a:pt x="60655" y="0"/>
                  </a:lnTo>
                  <a:lnTo>
                    <a:pt x="48348" y="2400"/>
                  </a:lnTo>
                  <a:lnTo>
                    <a:pt x="40868" y="9715"/>
                  </a:lnTo>
                  <a:lnTo>
                    <a:pt x="39839" y="20777"/>
                  </a:lnTo>
                  <a:lnTo>
                    <a:pt x="45199" y="33388"/>
                  </a:lnTo>
                  <a:lnTo>
                    <a:pt x="55981" y="46012"/>
                  </a:lnTo>
                  <a:lnTo>
                    <a:pt x="71183" y="57150"/>
                  </a:lnTo>
                  <a:lnTo>
                    <a:pt x="88087" y="64554"/>
                  </a:lnTo>
                  <a:lnTo>
                    <a:pt x="103543" y="67056"/>
                  </a:lnTo>
                  <a:lnTo>
                    <a:pt x="115862" y="64643"/>
                  </a:lnTo>
                  <a:lnTo>
                    <a:pt x="123367" y="57315"/>
                  </a:lnTo>
                  <a:lnTo>
                    <a:pt x="124371" y="46266"/>
                  </a:lnTo>
                  <a:close/>
                </a:path>
              </a:pathLst>
            </a:custGeom>
            <a:solidFill>
              <a:srgbClr val="002E6E"/>
            </a:solidFill>
          </p:spPr>
          <p:txBody>
            <a:bodyPr wrap="square" lIns="0" tIns="0" rIns="0" bIns="0" rtlCol="0"/>
            <a:lstStyle/>
            <a:p>
              <a:endParaRPr dirty="0"/>
            </a:p>
          </p:txBody>
        </p:sp>
        <p:pic>
          <p:nvPicPr>
            <p:cNvPr id="33" name="bg object 45">
              <a:extLst>
                <a:ext uri="{FF2B5EF4-FFF2-40B4-BE49-F238E27FC236}">
                  <a16:creationId xmlns:a16="http://schemas.microsoft.com/office/drawing/2014/main" id="{A94300BC-96B1-8E0B-C3EE-1BC79DF3FFE9}"/>
                </a:ext>
              </a:extLst>
            </p:cNvPr>
            <p:cNvPicPr/>
            <p:nvPr/>
          </p:nvPicPr>
          <p:blipFill>
            <a:blip r:embed="rId18" cstate="screen">
              <a:extLst>
                <a:ext uri="{28A0092B-C50C-407E-A947-70E740481C1C}">
                  <a14:useLocalDpi xmlns:a14="http://schemas.microsoft.com/office/drawing/2010/main"/>
                </a:ext>
              </a:extLst>
            </a:blip>
            <a:stretch>
              <a:fillRect/>
            </a:stretch>
          </p:blipFill>
          <p:spPr>
            <a:xfrm>
              <a:off x="9278991" y="6313755"/>
              <a:ext cx="79679" cy="87045"/>
            </a:xfrm>
            <a:prstGeom prst="rect">
              <a:avLst/>
            </a:prstGeom>
          </p:spPr>
        </p:pic>
        <p:pic>
          <p:nvPicPr>
            <p:cNvPr id="34" name="bg object 46">
              <a:extLst>
                <a:ext uri="{FF2B5EF4-FFF2-40B4-BE49-F238E27FC236}">
                  <a16:creationId xmlns:a16="http://schemas.microsoft.com/office/drawing/2014/main" id="{27C418E3-8109-673C-0AE6-D48D68EBB0B9}"/>
                </a:ext>
              </a:extLst>
            </p:cNvPr>
            <p:cNvPicPr/>
            <p:nvPr/>
          </p:nvPicPr>
          <p:blipFill>
            <a:blip r:embed="rId19" cstate="screen">
              <a:extLst>
                <a:ext uri="{28A0092B-C50C-407E-A947-70E740481C1C}">
                  <a14:useLocalDpi xmlns:a14="http://schemas.microsoft.com/office/drawing/2010/main"/>
                </a:ext>
              </a:extLst>
            </a:blip>
            <a:stretch>
              <a:fillRect/>
            </a:stretch>
          </p:blipFill>
          <p:spPr>
            <a:xfrm>
              <a:off x="9459078" y="6313275"/>
              <a:ext cx="123202" cy="87426"/>
            </a:xfrm>
            <a:prstGeom prst="rect">
              <a:avLst/>
            </a:prstGeom>
          </p:spPr>
        </p:pic>
        <p:pic>
          <p:nvPicPr>
            <p:cNvPr id="35" name="bg object 47">
              <a:extLst>
                <a:ext uri="{FF2B5EF4-FFF2-40B4-BE49-F238E27FC236}">
                  <a16:creationId xmlns:a16="http://schemas.microsoft.com/office/drawing/2014/main" id="{1E1A2038-D54A-9F53-39BA-4A806248EF36}"/>
                </a:ext>
              </a:extLst>
            </p:cNvPr>
            <p:cNvPicPr/>
            <p:nvPr/>
          </p:nvPicPr>
          <p:blipFill>
            <a:blip r:embed="rId20" cstate="screen">
              <a:extLst>
                <a:ext uri="{28A0092B-C50C-407E-A947-70E740481C1C}">
                  <a14:useLocalDpi xmlns:a14="http://schemas.microsoft.com/office/drawing/2010/main"/>
                </a:ext>
              </a:extLst>
            </a:blip>
            <a:stretch>
              <a:fillRect/>
            </a:stretch>
          </p:blipFill>
          <p:spPr>
            <a:xfrm>
              <a:off x="9689424" y="6315120"/>
              <a:ext cx="92646" cy="85572"/>
            </a:xfrm>
            <a:prstGeom prst="rect">
              <a:avLst/>
            </a:prstGeom>
          </p:spPr>
        </p:pic>
        <p:pic>
          <p:nvPicPr>
            <p:cNvPr id="36" name="bg object 48">
              <a:extLst>
                <a:ext uri="{FF2B5EF4-FFF2-40B4-BE49-F238E27FC236}">
                  <a16:creationId xmlns:a16="http://schemas.microsoft.com/office/drawing/2014/main" id="{3712F9E9-79AC-5844-1F7F-335199BF0D11}"/>
                </a:ext>
              </a:extLst>
            </p:cNvPr>
            <p:cNvPicPr/>
            <p:nvPr/>
          </p:nvPicPr>
          <p:blipFill>
            <a:blip r:embed="rId21" cstate="screen">
              <a:extLst>
                <a:ext uri="{28A0092B-C50C-407E-A947-70E740481C1C}">
                  <a14:useLocalDpi xmlns:a14="http://schemas.microsoft.com/office/drawing/2010/main"/>
                </a:ext>
              </a:extLst>
            </a:blip>
            <a:stretch>
              <a:fillRect/>
            </a:stretch>
          </p:blipFill>
          <p:spPr>
            <a:xfrm>
              <a:off x="9882826" y="6315104"/>
              <a:ext cx="74091" cy="83705"/>
            </a:xfrm>
            <a:prstGeom prst="rect">
              <a:avLst/>
            </a:prstGeom>
          </p:spPr>
        </p:pic>
        <p:sp>
          <p:nvSpPr>
            <p:cNvPr id="37" name="bg object 49">
              <a:extLst>
                <a:ext uri="{FF2B5EF4-FFF2-40B4-BE49-F238E27FC236}">
                  <a16:creationId xmlns:a16="http://schemas.microsoft.com/office/drawing/2014/main" id="{569E459A-FE82-73FA-A388-AC12A610F18D}"/>
                </a:ext>
              </a:extLst>
            </p:cNvPr>
            <p:cNvSpPr/>
            <p:nvPr/>
          </p:nvSpPr>
          <p:spPr>
            <a:xfrm>
              <a:off x="10057846" y="6361442"/>
              <a:ext cx="22860" cy="36830"/>
            </a:xfrm>
            <a:custGeom>
              <a:avLst/>
              <a:gdLst/>
              <a:ahLst/>
              <a:cxnLst/>
              <a:rect l="l" t="t" r="r" b="b"/>
              <a:pathLst>
                <a:path w="22859" h="36829">
                  <a:moveTo>
                    <a:pt x="0" y="36829"/>
                  </a:moveTo>
                  <a:lnTo>
                    <a:pt x="22491" y="36829"/>
                  </a:lnTo>
                  <a:lnTo>
                    <a:pt x="22491" y="0"/>
                  </a:lnTo>
                  <a:lnTo>
                    <a:pt x="0" y="0"/>
                  </a:lnTo>
                  <a:lnTo>
                    <a:pt x="0" y="36829"/>
                  </a:lnTo>
                  <a:close/>
                </a:path>
              </a:pathLst>
            </a:custGeom>
            <a:solidFill>
              <a:srgbClr val="002E6E"/>
            </a:solidFill>
          </p:spPr>
          <p:txBody>
            <a:bodyPr wrap="square" lIns="0" tIns="0" rIns="0" bIns="0" rtlCol="0"/>
            <a:lstStyle/>
            <a:p>
              <a:endParaRPr dirty="0"/>
            </a:p>
          </p:txBody>
        </p:sp>
        <p:sp>
          <p:nvSpPr>
            <p:cNvPr id="38" name="bg object 50">
              <a:extLst>
                <a:ext uri="{FF2B5EF4-FFF2-40B4-BE49-F238E27FC236}">
                  <a16:creationId xmlns:a16="http://schemas.microsoft.com/office/drawing/2014/main" id="{5308C57A-2651-03CA-2B44-BE1FEC1529EA}"/>
                </a:ext>
              </a:extLst>
            </p:cNvPr>
            <p:cNvSpPr/>
            <p:nvPr/>
          </p:nvSpPr>
          <p:spPr>
            <a:xfrm>
              <a:off x="10057841" y="6315722"/>
              <a:ext cx="93980" cy="82550"/>
            </a:xfrm>
            <a:custGeom>
              <a:avLst/>
              <a:gdLst/>
              <a:ahLst/>
              <a:cxnLst/>
              <a:rect l="l" t="t" r="r" b="b"/>
              <a:pathLst>
                <a:path w="93979" h="82550">
                  <a:moveTo>
                    <a:pt x="93675" y="0"/>
                  </a:moveTo>
                  <a:lnTo>
                    <a:pt x="71196" y="0"/>
                  </a:lnTo>
                  <a:lnTo>
                    <a:pt x="71196" y="31750"/>
                  </a:lnTo>
                  <a:lnTo>
                    <a:pt x="22491" y="31750"/>
                  </a:lnTo>
                  <a:lnTo>
                    <a:pt x="22491" y="0"/>
                  </a:lnTo>
                  <a:lnTo>
                    <a:pt x="0" y="0"/>
                  </a:lnTo>
                  <a:lnTo>
                    <a:pt x="0" y="31750"/>
                  </a:lnTo>
                  <a:lnTo>
                    <a:pt x="0" y="45720"/>
                  </a:lnTo>
                  <a:lnTo>
                    <a:pt x="71196" y="45720"/>
                  </a:lnTo>
                  <a:lnTo>
                    <a:pt x="71196" y="82550"/>
                  </a:lnTo>
                  <a:lnTo>
                    <a:pt x="93675" y="82550"/>
                  </a:lnTo>
                  <a:lnTo>
                    <a:pt x="93675" y="45720"/>
                  </a:lnTo>
                  <a:lnTo>
                    <a:pt x="93675" y="31750"/>
                  </a:lnTo>
                  <a:lnTo>
                    <a:pt x="93675" y="0"/>
                  </a:lnTo>
                  <a:close/>
                </a:path>
              </a:pathLst>
            </a:custGeom>
            <a:solidFill>
              <a:srgbClr val="002E6E"/>
            </a:solidFill>
          </p:spPr>
          <p:txBody>
            <a:bodyPr wrap="square" lIns="0" tIns="0" rIns="0" bIns="0" rtlCol="0"/>
            <a:lstStyle/>
            <a:p>
              <a:endParaRPr dirty="0"/>
            </a:p>
          </p:txBody>
        </p:sp>
        <p:pic>
          <p:nvPicPr>
            <p:cNvPr id="39" name="bg object 51">
              <a:extLst>
                <a:ext uri="{FF2B5EF4-FFF2-40B4-BE49-F238E27FC236}">
                  <a16:creationId xmlns:a16="http://schemas.microsoft.com/office/drawing/2014/main" id="{7EC60AE2-B395-DD7F-6AEE-0823F2A43806}"/>
                </a:ext>
              </a:extLst>
            </p:cNvPr>
            <p:cNvPicPr/>
            <p:nvPr/>
          </p:nvPicPr>
          <p:blipFill>
            <a:blip r:embed="rId22" cstate="screen">
              <a:extLst>
                <a:ext uri="{28A0092B-C50C-407E-A947-70E740481C1C}">
                  <a14:useLocalDpi xmlns:a14="http://schemas.microsoft.com/office/drawing/2010/main"/>
                </a:ext>
              </a:extLst>
            </a:blip>
            <a:stretch>
              <a:fillRect/>
            </a:stretch>
          </p:blipFill>
          <p:spPr>
            <a:xfrm>
              <a:off x="10424067" y="6313369"/>
              <a:ext cx="115265" cy="85445"/>
            </a:xfrm>
            <a:prstGeom prst="rect">
              <a:avLst/>
            </a:prstGeom>
          </p:spPr>
        </p:pic>
        <p:sp>
          <p:nvSpPr>
            <p:cNvPr id="40" name="bg object 52">
              <a:extLst>
                <a:ext uri="{FF2B5EF4-FFF2-40B4-BE49-F238E27FC236}">
                  <a16:creationId xmlns:a16="http://schemas.microsoft.com/office/drawing/2014/main" id="{79BA1AFA-93D5-D755-22B1-CE5356541FA5}"/>
                </a:ext>
              </a:extLst>
            </p:cNvPr>
            <p:cNvSpPr/>
            <p:nvPr/>
          </p:nvSpPr>
          <p:spPr>
            <a:xfrm>
              <a:off x="10639363" y="6315119"/>
              <a:ext cx="61594" cy="83820"/>
            </a:xfrm>
            <a:custGeom>
              <a:avLst/>
              <a:gdLst/>
              <a:ahLst/>
              <a:cxnLst/>
              <a:rect l="l" t="t" r="r" b="b"/>
              <a:pathLst>
                <a:path w="61595" h="83820">
                  <a:moveTo>
                    <a:pt x="61036" y="0"/>
                  </a:moveTo>
                  <a:lnTo>
                    <a:pt x="0" y="0"/>
                  </a:lnTo>
                  <a:lnTo>
                    <a:pt x="0" y="83692"/>
                  </a:lnTo>
                  <a:lnTo>
                    <a:pt x="22504" y="83692"/>
                  </a:lnTo>
                  <a:lnTo>
                    <a:pt x="22504" y="46913"/>
                  </a:lnTo>
                  <a:lnTo>
                    <a:pt x="58597" y="46913"/>
                  </a:lnTo>
                  <a:lnTo>
                    <a:pt x="58597" y="32765"/>
                  </a:lnTo>
                  <a:lnTo>
                    <a:pt x="22504" y="32765"/>
                  </a:lnTo>
                  <a:lnTo>
                    <a:pt x="22504" y="14173"/>
                  </a:lnTo>
                  <a:lnTo>
                    <a:pt x="61036" y="14173"/>
                  </a:lnTo>
                  <a:lnTo>
                    <a:pt x="61036" y="0"/>
                  </a:lnTo>
                  <a:close/>
                </a:path>
              </a:pathLst>
            </a:custGeom>
            <a:solidFill>
              <a:srgbClr val="002E6E"/>
            </a:solidFill>
          </p:spPr>
          <p:txBody>
            <a:bodyPr wrap="square" lIns="0" tIns="0" rIns="0" bIns="0" rtlCol="0"/>
            <a:lstStyle/>
            <a:p>
              <a:endParaRPr dirty="0"/>
            </a:p>
          </p:txBody>
        </p:sp>
        <p:pic>
          <p:nvPicPr>
            <p:cNvPr id="41" name="bg object 53">
              <a:extLst>
                <a:ext uri="{FF2B5EF4-FFF2-40B4-BE49-F238E27FC236}">
                  <a16:creationId xmlns:a16="http://schemas.microsoft.com/office/drawing/2014/main" id="{CEE096FC-ABDE-D154-F9F7-33DEB630613A}"/>
                </a:ext>
              </a:extLst>
            </p:cNvPr>
            <p:cNvPicPr/>
            <p:nvPr/>
          </p:nvPicPr>
          <p:blipFill>
            <a:blip r:embed="rId23" cstate="screen">
              <a:extLst>
                <a:ext uri="{28A0092B-C50C-407E-A947-70E740481C1C}">
                  <a14:useLocalDpi xmlns:a14="http://schemas.microsoft.com/office/drawing/2010/main"/>
                </a:ext>
              </a:extLst>
            </a:blip>
            <a:stretch>
              <a:fillRect/>
            </a:stretch>
          </p:blipFill>
          <p:spPr>
            <a:xfrm>
              <a:off x="10806506" y="6315099"/>
              <a:ext cx="84150" cy="83705"/>
            </a:xfrm>
            <a:prstGeom prst="rect">
              <a:avLst/>
            </a:prstGeom>
          </p:spPr>
        </p:pic>
        <p:sp>
          <p:nvSpPr>
            <p:cNvPr id="42" name="bg object 54">
              <a:extLst>
                <a:ext uri="{FF2B5EF4-FFF2-40B4-BE49-F238E27FC236}">
                  <a16:creationId xmlns:a16="http://schemas.microsoft.com/office/drawing/2014/main" id="{BD94477C-4268-D3F6-CECB-E67E79669421}"/>
                </a:ext>
              </a:extLst>
            </p:cNvPr>
            <p:cNvSpPr/>
            <p:nvPr/>
          </p:nvSpPr>
          <p:spPr>
            <a:xfrm>
              <a:off x="10992243" y="6315138"/>
              <a:ext cx="22860" cy="83820"/>
            </a:xfrm>
            <a:custGeom>
              <a:avLst/>
              <a:gdLst/>
              <a:ahLst/>
              <a:cxnLst/>
              <a:rect l="l" t="t" r="r" b="b"/>
              <a:pathLst>
                <a:path w="22859" h="83820">
                  <a:moveTo>
                    <a:pt x="22466" y="0"/>
                  </a:moveTo>
                  <a:lnTo>
                    <a:pt x="0" y="0"/>
                  </a:lnTo>
                  <a:lnTo>
                    <a:pt x="0" y="83667"/>
                  </a:lnTo>
                  <a:lnTo>
                    <a:pt x="22466" y="83667"/>
                  </a:lnTo>
                  <a:lnTo>
                    <a:pt x="22466" y="0"/>
                  </a:lnTo>
                  <a:close/>
                </a:path>
              </a:pathLst>
            </a:custGeom>
            <a:solidFill>
              <a:srgbClr val="002E6E"/>
            </a:solidFill>
          </p:spPr>
          <p:txBody>
            <a:bodyPr wrap="square" lIns="0" tIns="0" rIns="0" bIns="0" rtlCol="0"/>
            <a:lstStyle/>
            <a:p>
              <a:endParaRPr dirty="0"/>
            </a:p>
          </p:txBody>
        </p:sp>
        <p:pic>
          <p:nvPicPr>
            <p:cNvPr id="43" name="bg object 55">
              <a:extLst>
                <a:ext uri="{FF2B5EF4-FFF2-40B4-BE49-F238E27FC236}">
                  <a16:creationId xmlns:a16="http://schemas.microsoft.com/office/drawing/2014/main" id="{92AE7CF0-5F99-2E84-266E-984C37E7A97D}"/>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1121703" y="6313251"/>
              <a:ext cx="89001" cy="87439"/>
            </a:xfrm>
            <a:prstGeom prst="rect">
              <a:avLst/>
            </a:prstGeom>
          </p:spPr>
        </p:pic>
        <p:pic>
          <p:nvPicPr>
            <p:cNvPr id="44" name="bg object 56">
              <a:extLst>
                <a:ext uri="{FF2B5EF4-FFF2-40B4-BE49-F238E27FC236}">
                  <a16:creationId xmlns:a16="http://schemas.microsoft.com/office/drawing/2014/main" id="{238D4B4D-3C8A-D498-703A-422C266B3E47}"/>
                </a:ext>
              </a:extLst>
            </p:cNvPr>
            <p:cNvPicPr/>
            <p:nvPr/>
          </p:nvPicPr>
          <p:blipFill>
            <a:blip r:embed="rId25" cstate="screen">
              <a:extLst>
                <a:ext uri="{28A0092B-C50C-407E-A947-70E740481C1C}">
                  <a14:useLocalDpi xmlns:a14="http://schemas.microsoft.com/office/drawing/2010/main"/>
                </a:ext>
              </a:extLst>
            </a:blip>
            <a:stretch>
              <a:fillRect/>
            </a:stretch>
          </p:blipFill>
          <p:spPr>
            <a:xfrm>
              <a:off x="11304880" y="6313369"/>
              <a:ext cx="115227" cy="85445"/>
            </a:xfrm>
            <a:prstGeom prst="rect">
              <a:avLst/>
            </a:prstGeom>
          </p:spPr>
        </p:pic>
      </p:grpSp>
    </p:spTree>
    <p:extLst>
      <p:ext uri="{BB962C8B-B14F-4D97-AF65-F5344CB8AC3E}">
        <p14:creationId xmlns:p14="http://schemas.microsoft.com/office/powerpoint/2010/main" val="2018512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CA7C109-9803-51B8-F658-1CD95A9D1A3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653" t="206" r="5127" b="22495"/>
          <a:stretch/>
        </p:blipFill>
        <p:spPr>
          <a:xfrm>
            <a:off x="0" y="-6974"/>
            <a:ext cx="12192000" cy="6864974"/>
          </a:xfrm>
          <a:prstGeom prst="rect">
            <a:avLst/>
          </a:prstGeom>
        </p:spPr>
      </p:pic>
    </p:spTree>
    <p:extLst>
      <p:ext uri="{BB962C8B-B14F-4D97-AF65-F5344CB8AC3E}">
        <p14:creationId xmlns:p14="http://schemas.microsoft.com/office/powerpoint/2010/main" val="13074809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10566400" y="6289449"/>
            <a:ext cx="1016000" cy="228600"/>
          </a:xfrm>
          <a:prstGeom prst="rect">
            <a:avLst/>
          </a:prstGeom>
        </p:spPr>
        <p:txBody>
          <a:bodyPr/>
          <a:lstStyle>
            <a:lvl1pPr algn="r">
              <a:defRPr sz="1200">
                <a:solidFill>
                  <a:srgbClr val="D24C56"/>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29CBAE0-C9DC-48E5-BC21-54F13D4EB498}" type="slidenum">
              <a:rPr kumimoji="0" lang="en-US" sz="1200" b="0" i="0" u="none" strike="noStrike" kern="1200" cap="none" spc="0" normalizeH="0" baseline="0" noProof="0" smtClean="0">
                <a:ln>
                  <a:noFill/>
                </a:ln>
                <a:solidFill>
                  <a:srgbClr val="D24C56"/>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D24C56"/>
              </a:solidFill>
              <a:effectLst/>
              <a:uLnTx/>
              <a:uFillTx/>
              <a:latin typeface="Calibri"/>
              <a:ea typeface="+mn-ea"/>
              <a:cs typeface="+mn-cs"/>
            </a:endParaRPr>
          </a:p>
        </p:txBody>
      </p:sp>
    </p:spTree>
    <p:extLst>
      <p:ext uri="{BB962C8B-B14F-4D97-AF65-F5344CB8AC3E}">
        <p14:creationId xmlns:p14="http://schemas.microsoft.com/office/powerpoint/2010/main" val="2269876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6" name="Slide Number Placeholder 4"/>
          <p:cNvSpPr>
            <a:spLocks noGrp="1"/>
          </p:cNvSpPr>
          <p:nvPr>
            <p:ph type="sldNum" sz="quarter" idx="12"/>
          </p:nvPr>
        </p:nvSpPr>
        <p:spPr>
          <a:xfrm>
            <a:off x="838200" y="6356350"/>
            <a:ext cx="2743200" cy="365125"/>
          </a:xfrm>
        </p:spPr>
        <p:txBody>
          <a:bodyPr/>
          <a:lstStyle>
            <a:lvl1pPr>
              <a:defRPr/>
            </a:lvl1pPr>
          </a:lstStyle>
          <a:p>
            <a:fld id="{6B65AC03-9136-4843-B9CC-5034A2EA2C7E}" type="slidenum">
              <a:rPr lang="en-US" altLang="en-US"/>
              <a:pPr/>
              <a:t>‹#›</a:t>
            </a:fld>
            <a:endParaRPr lang="en-US" altLang="en-US" dirty="0"/>
          </a:p>
        </p:txBody>
      </p:sp>
    </p:spTree>
    <p:extLst>
      <p:ext uri="{BB962C8B-B14F-4D97-AF65-F5344CB8AC3E}">
        <p14:creationId xmlns:p14="http://schemas.microsoft.com/office/powerpoint/2010/main" val="1594386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30" y="339510"/>
            <a:ext cx="11573197" cy="724247"/>
          </a:xfrm>
          <a:prstGeom prst="rect">
            <a:avLst/>
          </a:prstGeom>
        </p:spPr>
        <p:txBody>
          <a:bodyPr anchor="ctr"/>
          <a:lstStyle>
            <a:lvl1pPr marL="0" indent="0" algn="ctr">
              <a:buNone/>
              <a:defRPr sz="5399"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3" name="Group 2">
            <a:extLst>
              <a:ext uri="{FF2B5EF4-FFF2-40B4-BE49-F238E27FC236}">
                <a16:creationId xmlns:a16="http://schemas.microsoft.com/office/drawing/2014/main" id="{A444163C-3BE8-445F-BF4D-6FF683F7A99F}"/>
              </a:ext>
            </a:extLst>
          </p:cNvPr>
          <p:cNvGrpSpPr/>
          <p:nvPr userDrawn="1"/>
        </p:nvGrpSpPr>
        <p:grpSpPr>
          <a:xfrm>
            <a:off x="0" y="5030642"/>
            <a:ext cx="11784650" cy="1581249"/>
            <a:chOff x="0" y="5030641"/>
            <a:chExt cx="11784650" cy="1581249"/>
          </a:xfrm>
        </p:grpSpPr>
        <p:grpSp>
          <p:nvGrpSpPr>
            <p:cNvPr id="4" name="Group 3">
              <a:extLst>
                <a:ext uri="{FF2B5EF4-FFF2-40B4-BE49-F238E27FC236}">
                  <a16:creationId xmlns:a16="http://schemas.microsoft.com/office/drawing/2014/main" id="{4C382616-4BAD-46F2-A9B1-3719C195BD07}"/>
                </a:ext>
              </a:extLst>
            </p:cNvPr>
            <p:cNvGrpSpPr/>
            <p:nvPr/>
          </p:nvGrpSpPr>
          <p:grpSpPr>
            <a:xfrm>
              <a:off x="10972494" y="5030641"/>
              <a:ext cx="812156" cy="1343445"/>
              <a:chOff x="10042059" y="85076"/>
              <a:chExt cx="1867634" cy="3089387"/>
            </a:xfrm>
          </p:grpSpPr>
          <p:sp>
            <p:nvSpPr>
              <p:cNvPr id="9" name="Freeform: Shape 8">
                <a:extLst>
                  <a:ext uri="{FF2B5EF4-FFF2-40B4-BE49-F238E27FC236}">
                    <a16:creationId xmlns:a16="http://schemas.microsoft.com/office/drawing/2014/main" id="{4F57692B-CB59-4909-9EE5-9842EC389960}"/>
                  </a:ext>
                </a:extLst>
              </p:cNvPr>
              <p:cNvSpPr/>
              <p:nvPr/>
            </p:nvSpPr>
            <p:spPr>
              <a:xfrm rot="16200000" flipH="1">
                <a:off x="9851011" y="276124"/>
                <a:ext cx="2249729" cy="1867634"/>
              </a:xfrm>
              <a:custGeom>
                <a:avLst/>
                <a:gdLst>
                  <a:gd name="connsiteX0" fmla="*/ 2234976 w 2254431"/>
                  <a:gd name="connsiteY0" fmla="*/ 1132618 h 1867634"/>
                  <a:gd name="connsiteX1" fmla="*/ 2236496 w 2254431"/>
                  <a:gd name="connsiteY1" fmla="*/ 1135418 h 1867634"/>
                  <a:gd name="connsiteX2" fmla="*/ 2234976 w 2254431"/>
                  <a:gd name="connsiteY2" fmla="*/ 1140552 h 1867634"/>
                  <a:gd name="connsiteX3" fmla="*/ 2234976 w 2254431"/>
                  <a:gd name="connsiteY3" fmla="*/ 710150 h 1867634"/>
                  <a:gd name="connsiteX4" fmla="*/ 2240336 w 2254431"/>
                  <a:gd name="connsiteY4" fmla="*/ 727150 h 1867634"/>
                  <a:gd name="connsiteX5" fmla="*/ 2234976 w 2254431"/>
                  <a:gd name="connsiteY5" fmla="*/ 737448 h 1867634"/>
                  <a:gd name="connsiteX6" fmla="*/ 1734909 w 2254431"/>
                  <a:gd name="connsiteY6" fmla="*/ 1232300 h 1867634"/>
                  <a:gd name="connsiteX7" fmla="*/ 1781182 w 2254431"/>
                  <a:gd name="connsiteY7" fmla="*/ 1232300 h 1867634"/>
                  <a:gd name="connsiteX8" fmla="*/ 1734909 w 2254431"/>
                  <a:gd name="connsiteY8" fmla="*/ 1237163 h 1867634"/>
                  <a:gd name="connsiteX9" fmla="*/ 1734908 w 2254431"/>
                  <a:gd name="connsiteY9" fmla="*/ 633988 h 1867634"/>
                  <a:gd name="connsiteX10" fmla="*/ 2124749 w 2254431"/>
                  <a:gd name="connsiteY10" fmla="*/ 668096 h 1867634"/>
                  <a:gd name="connsiteX11" fmla="*/ 1734908 w 2254431"/>
                  <a:gd name="connsiteY11" fmla="*/ 668096 h 1867634"/>
                  <a:gd name="connsiteX12" fmla="*/ 0 w 2254431"/>
                  <a:gd name="connsiteY12" fmla="*/ 933818 h 1867634"/>
                  <a:gd name="connsiteX13" fmla="*/ 273507 w 2254431"/>
                  <a:gd name="connsiteY13" fmla="*/ 1594126 h 1867634"/>
                  <a:gd name="connsiteX14" fmla="*/ 1594123 w 2254431"/>
                  <a:gd name="connsiteY14" fmla="*/ 1594126 h 1867634"/>
                  <a:gd name="connsiteX15" fmla="*/ 1818102 w 2254431"/>
                  <a:gd name="connsiteY15" fmla="*/ 1370146 h 1867634"/>
                  <a:gd name="connsiteX16" fmla="*/ 2067929 w 2254431"/>
                  <a:gd name="connsiteY16" fmla="*/ 1370150 h 1867634"/>
                  <a:gd name="connsiteX17" fmla="*/ 2249729 w 2254431"/>
                  <a:gd name="connsiteY17" fmla="*/ 1188348 h 1867634"/>
                  <a:gd name="connsiteX18" fmla="*/ 2249729 w 2254431"/>
                  <a:gd name="connsiteY18" fmla="*/ 938520 h 1867634"/>
                  <a:gd name="connsiteX19" fmla="*/ 2254431 w 2254431"/>
                  <a:gd name="connsiteY19" fmla="*/ 933818 h 1867634"/>
                  <a:gd name="connsiteX20" fmla="*/ 2249729 w 2254431"/>
                  <a:gd name="connsiteY20" fmla="*/ 929116 h 1867634"/>
                  <a:gd name="connsiteX21" fmla="*/ 2249729 w 2254431"/>
                  <a:gd name="connsiteY21" fmla="*/ 679292 h 1867634"/>
                  <a:gd name="connsiteX22" fmla="*/ 2067926 w 2254431"/>
                  <a:gd name="connsiteY22" fmla="*/ 497490 h 1867634"/>
                  <a:gd name="connsiteX23" fmla="*/ 1818099 w 2254431"/>
                  <a:gd name="connsiteY23" fmla="*/ 497490 h 1867634"/>
                  <a:gd name="connsiteX24" fmla="*/ 1594123 w 2254431"/>
                  <a:gd name="connsiteY24" fmla="*/ 273510 h 1867634"/>
                  <a:gd name="connsiteX25" fmla="*/ 273507 w 2254431"/>
                  <a:gd name="connsiteY25" fmla="*/ 273510 h 1867634"/>
                  <a:gd name="connsiteX26" fmla="*/ 0 w 2254431"/>
                  <a:gd name="connsiteY26" fmla="*/ 933818 h 1867634"/>
                  <a:gd name="connsiteX0" fmla="*/ 2234976 w 2254431"/>
                  <a:gd name="connsiteY0" fmla="*/ 1132618 h 1867634"/>
                  <a:gd name="connsiteX1" fmla="*/ 2236496 w 2254431"/>
                  <a:gd name="connsiteY1" fmla="*/ 1135418 h 1867634"/>
                  <a:gd name="connsiteX2" fmla="*/ 2234976 w 2254431"/>
                  <a:gd name="connsiteY2" fmla="*/ 1140552 h 1867634"/>
                  <a:gd name="connsiteX3" fmla="*/ 2234976 w 2254431"/>
                  <a:gd name="connsiteY3" fmla="*/ 1132618 h 1867634"/>
                  <a:gd name="connsiteX4" fmla="*/ 2234976 w 2254431"/>
                  <a:gd name="connsiteY4" fmla="*/ 710150 h 1867634"/>
                  <a:gd name="connsiteX5" fmla="*/ 2240336 w 2254431"/>
                  <a:gd name="connsiteY5" fmla="*/ 727150 h 1867634"/>
                  <a:gd name="connsiteX6" fmla="*/ 2234976 w 2254431"/>
                  <a:gd name="connsiteY6" fmla="*/ 737448 h 1867634"/>
                  <a:gd name="connsiteX7" fmla="*/ 2234976 w 2254431"/>
                  <a:gd name="connsiteY7" fmla="*/ 710150 h 1867634"/>
                  <a:gd name="connsiteX8" fmla="*/ 1734909 w 2254431"/>
                  <a:gd name="connsiteY8" fmla="*/ 1232300 h 1867634"/>
                  <a:gd name="connsiteX9" fmla="*/ 1781182 w 2254431"/>
                  <a:gd name="connsiteY9" fmla="*/ 1232300 h 1867634"/>
                  <a:gd name="connsiteX10" fmla="*/ 1734909 w 2254431"/>
                  <a:gd name="connsiteY10" fmla="*/ 1237163 h 1867634"/>
                  <a:gd name="connsiteX11" fmla="*/ 1734909 w 2254431"/>
                  <a:gd name="connsiteY11" fmla="*/ 1232300 h 1867634"/>
                  <a:gd name="connsiteX12" fmla="*/ 1734908 w 2254431"/>
                  <a:gd name="connsiteY12" fmla="*/ 668096 h 1867634"/>
                  <a:gd name="connsiteX13" fmla="*/ 2124749 w 2254431"/>
                  <a:gd name="connsiteY13" fmla="*/ 668096 h 1867634"/>
                  <a:gd name="connsiteX14" fmla="*/ 1734908 w 2254431"/>
                  <a:gd name="connsiteY14" fmla="*/ 668096 h 1867634"/>
                  <a:gd name="connsiteX15" fmla="*/ 0 w 2254431"/>
                  <a:gd name="connsiteY15" fmla="*/ 933818 h 1867634"/>
                  <a:gd name="connsiteX16" fmla="*/ 273507 w 2254431"/>
                  <a:gd name="connsiteY16" fmla="*/ 1594126 h 1867634"/>
                  <a:gd name="connsiteX17" fmla="*/ 1594123 w 2254431"/>
                  <a:gd name="connsiteY17" fmla="*/ 1594126 h 1867634"/>
                  <a:gd name="connsiteX18" fmla="*/ 1818102 w 2254431"/>
                  <a:gd name="connsiteY18" fmla="*/ 1370146 h 1867634"/>
                  <a:gd name="connsiteX19" fmla="*/ 2067929 w 2254431"/>
                  <a:gd name="connsiteY19" fmla="*/ 1370150 h 1867634"/>
                  <a:gd name="connsiteX20" fmla="*/ 2249729 w 2254431"/>
                  <a:gd name="connsiteY20" fmla="*/ 1188348 h 1867634"/>
                  <a:gd name="connsiteX21" fmla="*/ 2249729 w 2254431"/>
                  <a:gd name="connsiteY21" fmla="*/ 938520 h 1867634"/>
                  <a:gd name="connsiteX22" fmla="*/ 2254431 w 2254431"/>
                  <a:gd name="connsiteY22" fmla="*/ 933818 h 1867634"/>
                  <a:gd name="connsiteX23" fmla="*/ 2249729 w 2254431"/>
                  <a:gd name="connsiteY23" fmla="*/ 929116 h 1867634"/>
                  <a:gd name="connsiteX24" fmla="*/ 2249729 w 2254431"/>
                  <a:gd name="connsiteY24" fmla="*/ 679292 h 1867634"/>
                  <a:gd name="connsiteX25" fmla="*/ 2067926 w 2254431"/>
                  <a:gd name="connsiteY25" fmla="*/ 497490 h 1867634"/>
                  <a:gd name="connsiteX26" fmla="*/ 1818099 w 2254431"/>
                  <a:gd name="connsiteY26" fmla="*/ 497490 h 1867634"/>
                  <a:gd name="connsiteX27" fmla="*/ 1594123 w 2254431"/>
                  <a:gd name="connsiteY27" fmla="*/ 273510 h 1867634"/>
                  <a:gd name="connsiteX28" fmla="*/ 273507 w 2254431"/>
                  <a:gd name="connsiteY28" fmla="*/ 273510 h 1867634"/>
                  <a:gd name="connsiteX29" fmla="*/ 0 w 2254431"/>
                  <a:gd name="connsiteY29" fmla="*/ 933818 h 1867634"/>
                  <a:gd name="connsiteX0" fmla="*/ 2234976 w 2254431"/>
                  <a:gd name="connsiteY0" fmla="*/ 1132618 h 1867634"/>
                  <a:gd name="connsiteX1" fmla="*/ 2236496 w 2254431"/>
                  <a:gd name="connsiteY1" fmla="*/ 1135418 h 1867634"/>
                  <a:gd name="connsiteX2" fmla="*/ 2234976 w 2254431"/>
                  <a:gd name="connsiteY2" fmla="*/ 1140552 h 1867634"/>
                  <a:gd name="connsiteX3" fmla="*/ 2234976 w 2254431"/>
                  <a:gd name="connsiteY3" fmla="*/ 1132618 h 1867634"/>
                  <a:gd name="connsiteX4" fmla="*/ 2234976 w 2254431"/>
                  <a:gd name="connsiteY4" fmla="*/ 710150 h 1867634"/>
                  <a:gd name="connsiteX5" fmla="*/ 2240336 w 2254431"/>
                  <a:gd name="connsiteY5" fmla="*/ 727150 h 1867634"/>
                  <a:gd name="connsiteX6" fmla="*/ 2234976 w 2254431"/>
                  <a:gd name="connsiteY6" fmla="*/ 737448 h 1867634"/>
                  <a:gd name="connsiteX7" fmla="*/ 2234976 w 2254431"/>
                  <a:gd name="connsiteY7" fmla="*/ 710150 h 1867634"/>
                  <a:gd name="connsiteX8" fmla="*/ 1734909 w 2254431"/>
                  <a:gd name="connsiteY8" fmla="*/ 1232300 h 1867634"/>
                  <a:gd name="connsiteX9" fmla="*/ 1781182 w 2254431"/>
                  <a:gd name="connsiteY9" fmla="*/ 1232300 h 1867634"/>
                  <a:gd name="connsiteX10" fmla="*/ 1734909 w 2254431"/>
                  <a:gd name="connsiteY10" fmla="*/ 1237163 h 1867634"/>
                  <a:gd name="connsiteX11" fmla="*/ 1734909 w 2254431"/>
                  <a:gd name="connsiteY11" fmla="*/ 1232300 h 1867634"/>
                  <a:gd name="connsiteX12" fmla="*/ 0 w 2254431"/>
                  <a:gd name="connsiteY12" fmla="*/ 933818 h 1867634"/>
                  <a:gd name="connsiteX13" fmla="*/ 273507 w 2254431"/>
                  <a:gd name="connsiteY13" fmla="*/ 1594126 h 1867634"/>
                  <a:gd name="connsiteX14" fmla="*/ 1594123 w 2254431"/>
                  <a:gd name="connsiteY14" fmla="*/ 1594126 h 1867634"/>
                  <a:gd name="connsiteX15" fmla="*/ 1818102 w 2254431"/>
                  <a:gd name="connsiteY15" fmla="*/ 1370146 h 1867634"/>
                  <a:gd name="connsiteX16" fmla="*/ 2067929 w 2254431"/>
                  <a:gd name="connsiteY16" fmla="*/ 1370150 h 1867634"/>
                  <a:gd name="connsiteX17" fmla="*/ 2249729 w 2254431"/>
                  <a:gd name="connsiteY17" fmla="*/ 1188348 h 1867634"/>
                  <a:gd name="connsiteX18" fmla="*/ 2249729 w 2254431"/>
                  <a:gd name="connsiteY18" fmla="*/ 938520 h 1867634"/>
                  <a:gd name="connsiteX19" fmla="*/ 2254431 w 2254431"/>
                  <a:gd name="connsiteY19" fmla="*/ 933818 h 1867634"/>
                  <a:gd name="connsiteX20" fmla="*/ 2249729 w 2254431"/>
                  <a:gd name="connsiteY20" fmla="*/ 929116 h 1867634"/>
                  <a:gd name="connsiteX21" fmla="*/ 2249729 w 2254431"/>
                  <a:gd name="connsiteY21" fmla="*/ 679292 h 1867634"/>
                  <a:gd name="connsiteX22" fmla="*/ 2067926 w 2254431"/>
                  <a:gd name="connsiteY22" fmla="*/ 497490 h 1867634"/>
                  <a:gd name="connsiteX23" fmla="*/ 1818099 w 2254431"/>
                  <a:gd name="connsiteY23" fmla="*/ 497490 h 1867634"/>
                  <a:gd name="connsiteX24" fmla="*/ 1594123 w 2254431"/>
                  <a:gd name="connsiteY24" fmla="*/ 273510 h 1867634"/>
                  <a:gd name="connsiteX25" fmla="*/ 273507 w 2254431"/>
                  <a:gd name="connsiteY25" fmla="*/ 273510 h 1867634"/>
                  <a:gd name="connsiteX26" fmla="*/ 0 w 2254431"/>
                  <a:gd name="connsiteY26" fmla="*/ 933818 h 1867634"/>
                  <a:gd name="connsiteX0" fmla="*/ 2234976 w 2254431"/>
                  <a:gd name="connsiteY0" fmla="*/ 1132618 h 1867634"/>
                  <a:gd name="connsiteX1" fmla="*/ 2236496 w 2254431"/>
                  <a:gd name="connsiteY1" fmla="*/ 1135418 h 1867634"/>
                  <a:gd name="connsiteX2" fmla="*/ 2234976 w 2254431"/>
                  <a:gd name="connsiteY2" fmla="*/ 1140552 h 1867634"/>
                  <a:gd name="connsiteX3" fmla="*/ 2234976 w 2254431"/>
                  <a:gd name="connsiteY3" fmla="*/ 1132618 h 1867634"/>
                  <a:gd name="connsiteX4" fmla="*/ 2234976 w 2254431"/>
                  <a:gd name="connsiteY4" fmla="*/ 710150 h 1867634"/>
                  <a:gd name="connsiteX5" fmla="*/ 2240336 w 2254431"/>
                  <a:gd name="connsiteY5" fmla="*/ 727150 h 1867634"/>
                  <a:gd name="connsiteX6" fmla="*/ 2234976 w 2254431"/>
                  <a:gd name="connsiteY6" fmla="*/ 737448 h 1867634"/>
                  <a:gd name="connsiteX7" fmla="*/ 2234976 w 2254431"/>
                  <a:gd name="connsiteY7" fmla="*/ 710150 h 1867634"/>
                  <a:gd name="connsiteX8" fmla="*/ 1734909 w 2254431"/>
                  <a:gd name="connsiteY8" fmla="*/ 1237163 h 1867634"/>
                  <a:gd name="connsiteX9" fmla="*/ 1781182 w 2254431"/>
                  <a:gd name="connsiteY9" fmla="*/ 1232300 h 1867634"/>
                  <a:gd name="connsiteX10" fmla="*/ 1734909 w 2254431"/>
                  <a:gd name="connsiteY10" fmla="*/ 1237163 h 1867634"/>
                  <a:gd name="connsiteX11" fmla="*/ 0 w 2254431"/>
                  <a:gd name="connsiteY11" fmla="*/ 933818 h 1867634"/>
                  <a:gd name="connsiteX12" fmla="*/ 273507 w 2254431"/>
                  <a:gd name="connsiteY12" fmla="*/ 1594126 h 1867634"/>
                  <a:gd name="connsiteX13" fmla="*/ 1594123 w 2254431"/>
                  <a:gd name="connsiteY13" fmla="*/ 1594126 h 1867634"/>
                  <a:gd name="connsiteX14" fmla="*/ 1818102 w 2254431"/>
                  <a:gd name="connsiteY14" fmla="*/ 1370146 h 1867634"/>
                  <a:gd name="connsiteX15" fmla="*/ 2067929 w 2254431"/>
                  <a:gd name="connsiteY15" fmla="*/ 1370150 h 1867634"/>
                  <a:gd name="connsiteX16" fmla="*/ 2249729 w 2254431"/>
                  <a:gd name="connsiteY16" fmla="*/ 1188348 h 1867634"/>
                  <a:gd name="connsiteX17" fmla="*/ 2249729 w 2254431"/>
                  <a:gd name="connsiteY17" fmla="*/ 938520 h 1867634"/>
                  <a:gd name="connsiteX18" fmla="*/ 2254431 w 2254431"/>
                  <a:gd name="connsiteY18" fmla="*/ 933818 h 1867634"/>
                  <a:gd name="connsiteX19" fmla="*/ 2249729 w 2254431"/>
                  <a:gd name="connsiteY19" fmla="*/ 929116 h 1867634"/>
                  <a:gd name="connsiteX20" fmla="*/ 2249729 w 2254431"/>
                  <a:gd name="connsiteY20" fmla="*/ 679292 h 1867634"/>
                  <a:gd name="connsiteX21" fmla="*/ 2067926 w 2254431"/>
                  <a:gd name="connsiteY21" fmla="*/ 497490 h 1867634"/>
                  <a:gd name="connsiteX22" fmla="*/ 1818099 w 2254431"/>
                  <a:gd name="connsiteY22" fmla="*/ 497490 h 1867634"/>
                  <a:gd name="connsiteX23" fmla="*/ 1594123 w 2254431"/>
                  <a:gd name="connsiteY23" fmla="*/ 273510 h 1867634"/>
                  <a:gd name="connsiteX24" fmla="*/ 273507 w 2254431"/>
                  <a:gd name="connsiteY24" fmla="*/ 273510 h 1867634"/>
                  <a:gd name="connsiteX25" fmla="*/ 0 w 2254431"/>
                  <a:gd name="connsiteY25" fmla="*/ 933818 h 1867634"/>
                  <a:gd name="connsiteX0" fmla="*/ 2234976 w 2254431"/>
                  <a:gd name="connsiteY0" fmla="*/ 1132618 h 1867634"/>
                  <a:gd name="connsiteX1" fmla="*/ 2236496 w 2254431"/>
                  <a:gd name="connsiteY1" fmla="*/ 1135418 h 1867634"/>
                  <a:gd name="connsiteX2" fmla="*/ 2234976 w 2254431"/>
                  <a:gd name="connsiteY2" fmla="*/ 1140552 h 1867634"/>
                  <a:gd name="connsiteX3" fmla="*/ 2234976 w 2254431"/>
                  <a:gd name="connsiteY3" fmla="*/ 1132618 h 1867634"/>
                  <a:gd name="connsiteX4" fmla="*/ 2234976 w 2254431"/>
                  <a:gd name="connsiteY4" fmla="*/ 710150 h 1867634"/>
                  <a:gd name="connsiteX5" fmla="*/ 2240336 w 2254431"/>
                  <a:gd name="connsiteY5" fmla="*/ 727150 h 1867634"/>
                  <a:gd name="connsiteX6" fmla="*/ 2234976 w 2254431"/>
                  <a:gd name="connsiteY6" fmla="*/ 737448 h 1867634"/>
                  <a:gd name="connsiteX7" fmla="*/ 2234976 w 2254431"/>
                  <a:gd name="connsiteY7" fmla="*/ 710150 h 1867634"/>
                  <a:gd name="connsiteX8" fmla="*/ 0 w 2254431"/>
                  <a:gd name="connsiteY8" fmla="*/ 933818 h 1867634"/>
                  <a:gd name="connsiteX9" fmla="*/ 273507 w 2254431"/>
                  <a:gd name="connsiteY9" fmla="*/ 1594126 h 1867634"/>
                  <a:gd name="connsiteX10" fmla="*/ 1594123 w 2254431"/>
                  <a:gd name="connsiteY10" fmla="*/ 1594126 h 1867634"/>
                  <a:gd name="connsiteX11" fmla="*/ 1818102 w 2254431"/>
                  <a:gd name="connsiteY11" fmla="*/ 1370146 h 1867634"/>
                  <a:gd name="connsiteX12" fmla="*/ 2067929 w 2254431"/>
                  <a:gd name="connsiteY12" fmla="*/ 1370150 h 1867634"/>
                  <a:gd name="connsiteX13" fmla="*/ 2249729 w 2254431"/>
                  <a:gd name="connsiteY13" fmla="*/ 1188348 h 1867634"/>
                  <a:gd name="connsiteX14" fmla="*/ 2249729 w 2254431"/>
                  <a:gd name="connsiteY14" fmla="*/ 938520 h 1867634"/>
                  <a:gd name="connsiteX15" fmla="*/ 2254431 w 2254431"/>
                  <a:gd name="connsiteY15" fmla="*/ 933818 h 1867634"/>
                  <a:gd name="connsiteX16" fmla="*/ 2249729 w 2254431"/>
                  <a:gd name="connsiteY16" fmla="*/ 929116 h 1867634"/>
                  <a:gd name="connsiteX17" fmla="*/ 2249729 w 2254431"/>
                  <a:gd name="connsiteY17" fmla="*/ 679292 h 1867634"/>
                  <a:gd name="connsiteX18" fmla="*/ 2067926 w 2254431"/>
                  <a:gd name="connsiteY18" fmla="*/ 497490 h 1867634"/>
                  <a:gd name="connsiteX19" fmla="*/ 1818099 w 2254431"/>
                  <a:gd name="connsiteY19" fmla="*/ 497490 h 1867634"/>
                  <a:gd name="connsiteX20" fmla="*/ 1594123 w 2254431"/>
                  <a:gd name="connsiteY20" fmla="*/ 273510 h 1867634"/>
                  <a:gd name="connsiteX21" fmla="*/ 273507 w 2254431"/>
                  <a:gd name="connsiteY21" fmla="*/ 273510 h 1867634"/>
                  <a:gd name="connsiteX22" fmla="*/ 0 w 2254431"/>
                  <a:gd name="connsiteY22" fmla="*/ 933818 h 1867634"/>
                  <a:gd name="connsiteX0" fmla="*/ 2234976 w 2254431"/>
                  <a:gd name="connsiteY0" fmla="*/ 1140552 h 1867634"/>
                  <a:gd name="connsiteX1" fmla="*/ 2236496 w 2254431"/>
                  <a:gd name="connsiteY1" fmla="*/ 1135418 h 1867634"/>
                  <a:gd name="connsiteX2" fmla="*/ 2234976 w 2254431"/>
                  <a:gd name="connsiteY2" fmla="*/ 1140552 h 1867634"/>
                  <a:gd name="connsiteX3" fmla="*/ 2234976 w 2254431"/>
                  <a:gd name="connsiteY3" fmla="*/ 710150 h 1867634"/>
                  <a:gd name="connsiteX4" fmla="*/ 2240336 w 2254431"/>
                  <a:gd name="connsiteY4" fmla="*/ 727150 h 1867634"/>
                  <a:gd name="connsiteX5" fmla="*/ 2234976 w 2254431"/>
                  <a:gd name="connsiteY5" fmla="*/ 737448 h 1867634"/>
                  <a:gd name="connsiteX6" fmla="*/ 2234976 w 2254431"/>
                  <a:gd name="connsiteY6" fmla="*/ 710150 h 1867634"/>
                  <a:gd name="connsiteX7" fmla="*/ 0 w 2254431"/>
                  <a:gd name="connsiteY7" fmla="*/ 933818 h 1867634"/>
                  <a:gd name="connsiteX8" fmla="*/ 273507 w 2254431"/>
                  <a:gd name="connsiteY8" fmla="*/ 1594126 h 1867634"/>
                  <a:gd name="connsiteX9" fmla="*/ 1594123 w 2254431"/>
                  <a:gd name="connsiteY9" fmla="*/ 1594126 h 1867634"/>
                  <a:gd name="connsiteX10" fmla="*/ 1818102 w 2254431"/>
                  <a:gd name="connsiteY10" fmla="*/ 1370146 h 1867634"/>
                  <a:gd name="connsiteX11" fmla="*/ 2067929 w 2254431"/>
                  <a:gd name="connsiteY11" fmla="*/ 1370150 h 1867634"/>
                  <a:gd name="connsiteX12" fmla="*/ 2249729 w 2254431"/>
                  <a:gd name="connsiteY12" fmla="*/ 1188348 h 1867634"/>
                  <a:gd name="connsiteX13" fmla="*/ 2249729 w 2254431"/>
                  <a:gd name="connsiteY13" fmla="*/ 938520 h 1867634"/>
                  <a:gd name="connsiteX14" fmla="*/ 2254431 w 2254431"/>
                  <a:gd name="connsiteY14" fmla="*/ 933818 h 1867634"/>
                  <a:gd name="connsiteX15" fmla="*/ 2249729 w 2254431"/>
                  <a:gd name="connsiteY15" fmla="*/ 929116 h 1867634"/>
                  <a:gd name="connsiteX16" fmla="*/ 2249729 w 2254431"/>
                  <a:gd name="connsiteY16" fmla="*/ 679292 h 1867634"/>
                  <a:gd name="connsiteX17" fmla="*/ 2067926 w 2254431"/>
                  <a:gd name="connsiteY17" fmla="*/ 497490 h 1867634"/>
                  <a:gd name="connsiteX18" fmla="*/ 1818099 w 2254431"/>
                  <a:gd name="connsiteY18" fmla="*/ 497490 h 1867634"/>
                  <a:gd name="connsiteX19" fmla="*/ 1594123 w 2254431"/>
                  <a:gd name="connsiteY19" fmla="*/ 273510 h 1867634"/>
                  <a:gd name="connsiteX20" fmla="*/ 273507 w 2254431"/>
                  <a:gd name="connsiteY20" fmla="*/ 273510 h 1867634"/>
                  <a:gd name="connsiteX21" fmla="*/ 0 w 2254431"/>
                  <a:gd name="connsiteY21" fmla="*/ 933818 h 1867634"/>
                  <a:gd name="connsiteX0" fmla="*/ 2234976 w 2254431"/>
                  <a:gd name="connsiteY0" fmla="*/ 710150 h 1867634"/>
                  <a:gd name="connsiteX1" fmla="*/ 2240336 w 2254431"/>
                  <a:gd name="connsiteY1" fmla="*/ 727150 h 1867634"/>
                  <a:gd name="connsiteX2" fmla="*/ 2234976 w 2254431"/>
                  <a:gd name="connsiteY2" fmla="*/ 737448 h 1867634"/>
                  <a:gd name="connsiteX3" fmla="*/ 2234976 w 2254431"/>
                  <a:gd name="connsiteY3" fmla="*/ 710150 h 1867634"/>
                  <a:gd name="connsiteX4" fmla="*/ 0 w 2254431"/>
                  <a:gd name="connsiteY4" fmla="*/ 933818 h 1867634"/>
                  <a:gd name="connsiteX5" fmla="*/ 273507 w 2254431"/>
                  <a:gd name="connsiteY5" fmla="*/ 1594126 h 1867634"/>
                  <a:gd name="connsiteX6" fmla="*/ 1594123 w 2254431"/>
                  <a:gd name="connsiteY6" fmla="*/ 1594126 h 1867634"/>
                  <a:gd name="connsiteX7" fmla="*/ 1818102 w 2254431"/>
                  <a:gd name="connsiteY7" fmla="*/ 1370146 h 1867634"/>
                  <a:gd name="connsiteX8" fmla="*/ 2067929 w 2254431"/>
                  <a:gd name="connsiteY8" fmla="*/ 1370150 h 1867634"/>
                  <a:gd name="connsiteX9" fmla="*/ 2249729 w 2254431"/>
                  <a:gd name="connsiteY9" fmla="*/ 1188348 h 1867634"/>
                  <a:gd name="connsiteX10" fmla="*/ 2249729 w 2254431"/>
                  <a:gd name="connsiteY10" fmla="*/ 938520 h 1867634"/>
                  <a:gd name="connsiteX11" fmla="*/ 2254431 w 2254431"/>
                  <a:gd name="connsiteY11" fmla="*/ 933818 h 1867634"/>
                  <a:gd name="connsiteX12" fmla="*/ 2249729 w 2254431"/>
                  <a:gd name="connsiteY12" fmla="*/ 929116 h 1867634"/>
                  <a:gd name="connsiteX13" fmla="*/ 2249729 w 2254431"/>
                  <a:gd name="connsiteY13" fmla="*/ 679292 h 1867634"/>
                  <a:gd name="connsiteX14" fmla="*/ 2067926 w 2254431"/>
                  <a:gd name="connsiteY14" fmla="*/ 497490 h 1867634"/>
                  <a:gd name="connsiteX15" fmla="*/ 1818099 w 2254431"/>
                  <a:gd name="connsiteY15" fmla="*/ 497490 h 1867634"/>
                  <a:gd name="connsiteX16" fmla="*/ 1594123 w 2254431"/>
                  <a:gd name="connsiteY16" fmla="*/ 273510 h 1867634"/>
                  <a:gd name="connsiteX17" fmla="*/ 273507 w 2254431"/>
                  <a:gd name="connsiteY17" fmla="*/ 273510 h 1867634"/>
                  <a:gd name="connsiteX18" fmla="*/ 0 w 2254431"/>
                  <a:gd name="connsiteY18" fmla="*/ 933818 h 1867634"/>
                  <a:gd name="connsiteX0" fmla="*/ 2234976 w 2254431"/>
                  <a:gd name="connsiteY0" fmla="*/ 737448 h 1867634"/>
                  <a:gd name="connsiteX1" fmla="*/ 2240336 w 2254431"/>
                  <a:gd name="connsiteY1" fmla="*/ 727150 h 1867634"/>
                  <a:gd name="connsiteX2" fmla="*/ 2234976 w 2254431"/>
                  <a:gd name="connsiteY2" fmla="*/ 737448 h 1867634"/>
                  <a:gd name="connsiteX3" fmla="*/ 0 w 2254431"/>
                  <a:gd name="connsiteY3" fmla="*/ 933818 h 1867634"/>
                  <a:gd name="connsiteX4" fmla="*/ 273507 w 2254431"/>
                  <a:gd name="connsiteY4" fmla="*/ 1594126 h 1867634"/>
                  <a:gd name="connsiteX5" fmla="*/ 1594123 w 2254431"/>
                  <a:gd name="connsiteY5" fmla="*/ 1594126 h 1867634"/>
                  <a:gd name="connsiteX6" fmla="*/ 1818102 w 2254431"/>
                  <a:gd name="connsiteY6" fmla="*/ 1370146 h 1867634"/>
                  <a:gd name="connsiteX7" fmla="*/ 2067929 w 2254431"/>
                  <a:gd name="connsiteY7" fmla="*/ 1370150 h 1867634"/>
                  <a:gd name="connsiteX8" fmla="*/ 2249729 w 2254431"/>
                  <a:gd name="connsiteY8" fmla="*/ 1188348 h 1867634"/>
                  <a:gd name="connsiteX9" fmla="*/ 2249729 w 2254431"/>
                  <a:gd name="connsiteY9" fmla="*/ 938520 h 1867634"/>
                  <a:gd name="connsiteX10" fmla="*/ 2254431 w 2254431"/>
                  <a:gd name="connsiteY10" fmla="*/ 933818 h 1867634"/>
                  <a:gd name="connsiteX11" fmla="*/ 2249729 w 2254431"/>
                  <a:gd name="connsiteY11" fmla="*/ 929116 h 1867634"/>
                  <a:gd name="connsiteX12" fmla="*/ 2249729 w 2254431"/>
                  <a:gd name="connsiteY12" fmla="*/ 679292 h 1867634"/>
                  <a:gd name="connsiteX13" fmla="*/ 2067926 w 2254431"/>
                  <a:gd name="connsiteY13" fmla="*/ 497490 h 1867634"/>
                  <a:gd name="connsiteX14" fmla="*/ 1818099 w 2254431"/>
                  <a:gd name="connsiteY14" fmla="*/ 497490 h 1867634"/>
                  <a:gd name="connsiteX15" fmla="*/ 1594123 w 2254431"/>
                  <a:gd name="connsiteY15" fmla="*/ 273510 h 1867634"/>
                  <a:gd name="connsiteX16" fmla="*/ 273507 w 2254431"/>
                  <a:gd name="connsiteY16" fmla="*/ 273510 h 1867634"/>
                  <a:gd name="connsiteX17" fmla="*/ 0 w 2254431"/>
                  <a:gd name="connsiteY17" fmla="*/ 933818 h 1867634"/>
                  <a:gd name="connsiteX0" fmla="*/ 0 w 2254431"/>
                  <a:gd name="connsiteY0" fmla="*/ 933818 h 1867634"/>
                  <a:gd name="connsiteX1" fmla="*/ 273507 w 2254431"/>
                  <a:gd name="connsiteY1" fmla="*/ 1594126 h 1867634"/>
                  <a:gd name="connsiteX2" fmla="*/ 1594123 w 2254431"/>
                  <a:gd name="connsiteY2" fmla="*/ 1594126 h 1867634"/>
                  <a:gd name="connsiteX3" fmla="*/ 1818102 w 2254431"/>
                  <a:gd name="connsiteY3" fmla="*/ 1370146 h 1867634"/>
                  <a:gd name="connsiteX4" fmla="*/ 2067929 w 2254431"/>
                  <a:gd name="connsiteY4" fmla="*/ 1370150 h 1867634"/>
                  <a:gd name="connsiteX5" fmla="*/ 2249729 w 2254431"/>
                  <a:gd name="connsiteY5" fmla="*/ 1188348 h 1867634"/>
                  <a:gd name="connsiteX6" fmla="*/ 2249729 w 2254431"/>
                  <a:gd name="connsiteY6" fmla="*/ 938520 h 1867634"/>
                  <a:gd name="connsiteX7" fmla="*/ 2254431 w 2254431"/>
                  <a:gd name="connsiteY7" fmla="*/ 933818 h 1867634"/>
                  <a:gd name="connsiteX8" fmla="*/ 2249729 w 2254431"/>
                  <a:gd name="connsiteY8" fmla="*/ 929116 h 1867634"/>
                  <a:gd name="connsiteX9" fmla="*/ 2249729 w 2254431"/>
                  <a:gd name="connsiteY9" fmla="*/ 679292 h 1867634"/>
                  <a:gd name="connsiteX10" fmla="*/ 2067926 w 2254431"/>
                  <a:gd name="connsiteY10" fmla="*/ 497490 h 1867634"/>
                  <a:gd name="connsiteX11" fmla="*/ 1818099 w 2254431"/>
                  <a:gd name="connsiteY11" fmla="*/ 497490 h 1867634"/>
                  <a:gd name="connsiteX12" fmla="*/ 1594123 w 2254431"/>
                  <a:gd name="connsiteY12" fmla="*/ 273510 h 1867634"/>
                  <a:gd name="connsiteX13" fmla="*/ 273507 w 2254431"/>
                  <a:gd name="connsiteY13" fmla="*/ 273510 h 1867634"/>
                  <a:gd name="connsiteX14" fmla="*/ 0 w 2254431"/>
                  <a:gd name="connsiteY14" fmla="*/ 933818 h 1867634"/>
                  <a:gd name="connsiteX0" fmla="*/ 0 w 2249729"/>
                  <a:gd name="connsiteY0" fmla="*/ 933818 h 1867634"/>
                  <a:gd name="connsiteX1" fmla="*/ 273507 w 2249729"/>
                  <a:gd name="connsiteY1" fmla="*/ 1594126 h 1867634"/>
                  <a:gd name="connsiteX2" fmla="*/ 1594123 w 2249729"/>
                  <a:gd name="connsiteY2" fmla="*/ 1594126 h 1867634"/>
                  <a:gd name="connsiteX3" fmla="*/ 1818102 w 2249729"/>
                  <a:gd name="connsiteY3" fmla="*/ 1370146 h 1867634"/>
                  <a:gd name="connsiteX4" fmla="*/ 2067929 w 2249729"/>
                  <a:gd name="connsiteY4" fmla="*/ 1370150 h 1867634"/>
                  <a:gd name="connsiteX5" fmla="*/ 2249729 w 2249729"/>
                  <a:gd name="connsiteY5" fmla="*/ 1188348 h 1867634"/>
                  <a:gd name="connsiteX6" fmla="*/ 2249729 w 2249729"/>
                  <a:gd name="connsiteY6" fmla="*/ 938520 h 1867634"/>
                  <a:gd name="connsiteX7" fmla="*/ 2249729 w 2249729"/>
                  <a:gd name="connsiteY7" fmla="*/ 929116 h 1867634"/>
                  <a:gd name="connsiteX8" fmla="*/ 2249729 w 2249729"/>
                  <a:gd name="connsiteY8" fmla="*/ 679292 h 1867634"/>
                  <a:gd name="connsiteX9" fmla="*/ 2067926 w 2249729"/>
                  <a:gd name="connsiteY9" fmla="*/ 497490 h 1867634"/>
                  <a:gd name="connsiteX10" fmla="*/ 1818099 w 2249729"/>
                  <a:gd name="connsiteY10" fmla="*/ 497490 h 1867634"/>
                  <a:gd name="connsiteX11" fmla="*/ 1594123 w 2249729"/>
                  <a:gd name="connsiteY11" fmla="*/ 273510 h 1867634"/>
                  <a:gd name="connsiteX12" fmla="*/ 273507 w 2249729"/>
                  <a:gd name="connsiteY12" fmla="*/ 273510 h 1867634"/>
                  <a:gd name="connsiteX13" fmla="*/ 0 w 2249729"/>
                  <a:gd name="connsiteY13" fmla="*/ 933818 h 1867634"/>
                  <a:gd name="connsiteX0" fmla="*/ 0 w 2249729"/>
                  <a:gd name="connsiteY0" fmla="*/ 933818 h 1867634"/>
                  <a:gd name="connsiteX1" fmla="*/ 273507 w 2249729"/>
                  <a:gd name="connsiteY1" fmla="*/ 1594126 h 1867634"/>
                  <a:gd name="connsiteX2" fmla="*/ 1594123 w 2249729"/>
                  <a:gd name="connsiteY2" fmla="*/ 1594126 h 1867634"/>
                  <a:gd name="connsiteX3" fmla="*/ 1818102 w 2249729"/>
                  <a:gd name="connsiteY3" fmla="*/ 1370146 h 1867634"/>
                  <a:gd name="connsiteX4" fmla="*/ 2067929 w 2249729"/>
                  <a:gd name="connsiteY4" fmla="*/ 1370150 h 1867634"/>
                  <a:gd name="connsiteX5" fmla="*/ 2249729 w 2249729"/>
                  <a:gd name="connsiteY5" fmla="*/ 1188348 h 1867634"/>
                  <a:gd name="connsiteX6" fmla="*/ 2249729 w 2249729"/>
                  <a:gd name="connsiteY6" fmla="*/ 929116 h 1867634"/>
                  <a:gd name="connsiteX7" fmla="*/ 2249729 w 2249729"/>
                  <a:gd name="connsiteY7" fmla="*/ 679292 h 1867634"/>
                  <a:gd name="connsiteX8" fmla="*/ 2067926 w 2249729"/>
                  <a:gd name="connsiteY8" fmla="*/ 497490 h 1867634"/>
                  <a:gd name="connsiteX9" fmla="*/ 1818099 w 2249729"/>
                  <a:gd name="connsiteY9" fmla="*/ 497490 h 1867634"/>
                  <a:gd name="connsiteX10" fmla="*/ 1594123 w 2249729"/>
                  <a:gd name="connsiteY10" fmla="*/ 273510 h 1867634"/>
                  <a:gd name="connsiteX11" fmla="*/ 273507 w 2249729"/>
                  <a:gd name="connsiteY11" fmla="*/ 273510 h 1867634"/>
                  <a:gd name="connsiteX12" fmla="*/ 0 w 2249729"/>
                  <a:gd name="connsiteY12" fmla="*/ 933818 h 1867634"/>
                  <a:gd name="connsiteX0" fmla="*/ 0 w 2249729"/>
                  <a:gd name="connsiteY0" fmla="*/ 933818 h 1867634"/>
                  <a:gd name="connsiteX1" fmla="*/ 273507 w 2249729"/>
                  <a:gd name="connsiteY1" fmla="*/ 1594126 h 1867634"/>
                  <a:gd name="connsiteX2" fmla="*/ 1594123 w 2249729"/>
                  <a:gd name="connsiteY2" fmla="*/ 1594126 h 1867634"/>
                  <a:gd name="connsiteX3" fmla="*/ 1818102 w 2249729"/>
                  <a:gd name="connsiteY3" fmla="*/ 1370146 h 1867634"/>
                  <a:gd name="connsiteX4" fmla="*/ 2067929 w 2249729"/>
                  <a:gd name="connsiteY4" fmla="*/ 1370150 h 1867634"/>
                  <a:gd name="connsiteX5" fmla="*/ 2249729 w 2249729"/>
                  <a:gd name="connsiteY5" fmla="*/ 1188348 h 1867634"/>
                  <a:gd name="connsiteX6" fmla="*/ 2249729 w 2249729"/>
                  <a:gd name="connsiteY6" fmla="*/ 679292 h 1867634"/>
                  <a:gd name="connsiteX7" fmla="*/ 2067926 w 2249729"/>
                  <a:gd name="connsiteY7" fmla="*/ 497490 h 1867634"/>
                  <a:gd name="connsiteX8" fmla="*/ 1818099 w 2249729"/>
                  <a:gd name="connsiteY8" fmla="*/ 497490 h 1867634"/>
                  <a:gd name="connsiteX9" fmla="*/ 1594123 w 2249729"/>
                  <a:gd name="connsiteY9" fmla="*/ 273510 h 1867634"/>
                  <a:gd name="connsiteX10" fmla="*/ 273507 w 2249729"/>
                  <a:gd name="connsiteY10" fmla="*/ 273510 h 1867634"/>
                  <a:gd name="connsiteX11" fmla="*/ 0 w 2249729"/>
                  <a:gd name="connsiteY11" fmla="*/ 933818 h 186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9729" h="1867634">
                    <a:moveTo>
                      <a:pt x="0" y="933818"/>
                    </a:moveTo>
                    <a:cubicBezTo>
                      <a:pt x="0" y="1172804"/>
                      <a:pt x="91169" y="1411786"/>
                      <a:pt x="273507" y="1594126"/>
                    </a:cubicBezTo>
                    <a:cubicBezTo>
                      <a:pt x="638186" y="1958804"/>
                      <a:pt x="1229447" y="1958804"/>
                      <a:pt x="1594123" y="1594126"/>
                    </a:cubicBezTo>
                    <a:lnTo>
                      <a:pt x="1818102" y="1370146"/>
                    </a:lnTo>
                    <a:lnTo>
                      <a:pt x="2067929" y="1370150"/>
                    </a:lnTo>
                    <a:cubicBezTo>
                      <a:pt x="2168336" y="1370146"/>
                      <a:pt x="2249729" y="1288752"/>
                      <a:pt x="2249729" y="1188348"/>
                    </a:cubicBezTo>
                    <a:lnTo>
                      <a:pt x="2249729" y="679292"/>
                    </a:lnTo>
                    <a:cubicBezTo>
                      <a:pt x="2249729" y="578884"/>
                      <a:pt x="2168334" y="497490"/>
                      <a:pt x="2067926" y="497490"/>
                    </a:cubicBezTo>
                    <a:lnTo>
                      <a:pt x="1818099" y="497490"/>
                    </a:lnTo>
                    <a:lnTo>
                      <a:pt x="1594123" y="273510"/>
                    </a:lnTo>
                    <a:cubicBezTo>
                      <a:pt x="1229444" y="-91169"/>
                      <a:pt x="638186" y="-91169"/>
                      <a:pt x="273507" y="273510"/>
                    </a:cubicBezTo>
                    <a:cubicBezTo>
                      <a:pt x="91169" y="455848"/>
                      <a:pt x="0" y="694834"/>
                      <a:pt x="0" y="933818"/>
                    </a:cubicBezTo>
                    <a:close/>
                  </a:path>
                </a:pathLst>
              </a:cu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1800" dirty="0">
                  <a:solidFill>
                    <a:schemeClr val="tx1"/>
                  </a:solidFill>
                </a:endParaRPr>
              </a:p>
            </p:txBody>
          </p:sp>
          <p:sp>
            <p:nvSpPr>
              <p:cNvPr id="10" name="Freeform: Shape 9">
                <a:extLst>
                  <a:ext uri="{FF2B5EF4-FFF2-40B4-BE49-F238E27FC236}">
                    <a16:creationId xmlns:a16="http://schemas.microsoft.com/office/drawing/2014/main" id="{6DBEC21B-8490-4613-893F-081AAB39C3FB}"/>
                  </a:ext>
                </a:extLst>
              </p:cNvPr>
              <p:cNvSpPr/>
              <p:nvPr/>
            </p:nvSpPr>
            <p:spPr>
              <a:xfrm>
                <a:off x="10573107" y="2486534"/>
                <a:ext cx="805533" cy="687929"/>
              </a:xfrm>
              <a:custGeom>
                <a:avLst/>
                <a:gdLst>
                  <a:gd name="connsiteX0" fmla="*/ 184600 w 805532"/>
                  <a:gd name="connsiteY0" fmla="*/ 520107 h 687929"/>
                  <a:gd name="connsiteX1" fmla="*/ 620929 w 805532"/>
                  <a:gd name="connsiteY1" fmla="*/ 520110 h 687929"/>
                  <a:gd name="connsiteX2" fmla="*/ 704838 w 805532"/>
                  <a:gd name="connsiteY2" fmla="*/ 604019 h 687929"/>
                  <a:gd name="connsiteX3" fmla="*/ 620926 w 805532"/>
                  <a:gd name="connsiteY3" fmla="*/ 687929 h 687929"/>
                  <a:gd name="connsiteX4" fmla="*/ 184600 w 805532"/>
                  <a:gd name="connsiteY4" fmla="*/ 687926 h 687929"/>
                  <a:gd name="connsiteX5" fmla="*/ 100691 w 805532"/>
                  <a:gd name="connsiteY5" fmla="*/ 604019 h 687929"/>
                  <a:gd name="connsiteX6" fmla="*/ 184600 w 805532"/>
                  <a:gd name="connsiteY6" fmla="*/ 520107 h 687929"/>
                  <a:gd name="connsiteX7" fmla="*/ 117472 w 805532"/>
                  <a:gd name="connsiteY7" fmla="*/ 260053 h 687929"/>
                  <a:gd name="connsiteX8" fmla="*/ 688057 w 805532"/>
                  <a:gd name="connsiteY8" fmla="*/ 260053 h 687929"/>
                  <a:gd name="connsiteX9" fmla="*/ 771967 w 805532"/>
                  <a:gd name="connsiteY9" fmla="*/ 343963 h 687929"/>
                  <a:gd name="connsiteX10" fmla="*/ 688057 w 805532"/>
                  <a:gd name="connsiteY10" fmla="*/ 427875 h 687929"/>
                  <a:gd name="connsiteX11" fmla="*/ 117472 w 805532"/>
                  <a:gd name="connsiteY11" fmla="*/ 427872 h 687929"/>
                  <a:gd name="connsiteX12" fmla="*/ 33563 w 805532"/>
                  <a:gd name="connsiteY12" fmla="*/ 343963 h 687929"/>
                  <a:gd name="connsiteX13" fmla="*/ 117472 w 805532"/>
                  <a:gd name="connsiteY13" fmla="*/ 260053 h 687929"/>
                  <a:gd name="connsiteX14" fmla="*/ 83910 w 805532"/>
                  <a:gd name="connsiteY14" fmla="*/ 0 h 687929"/>
                  <a:gd name="connsiteX15" fmla="*/ 721623 w 805532"/>
                  <a:gd name="connsiteY15" fmla="*/ 0 h 687929"/>
                  <a:gd name="connsiteX16" fmla="*/ 805532 w 805532"/>
                  <a:gd name="connsiteY16" fmla="*/ 83910 h 687929"/>
                  <a:gd name="connsiteX17" fmla="*/ 805529 w 805532"/>
                  <a:gd name="connsiteY17" fmla="*/ 83910 h 687929"/>
                  <a:gd name="connsiteX18" fmla="*/ 721620 w 805532"/>
                  <a:gd name="connsiteY18" fmla="*/ 167819 h 687929"/>
                  <a:gd name="connsiteX19" fmla="*/ 83910 w 805532"/>
                  <a:gd name="connsiteY19" fmla="*/ 167819 h 687929"/>
                  <a:gd name="connsiteX20" fmla="*/ 0 w 805532"/>
                  <a:gd name="connsiteY20" fmla="*/ 83910 h 687929"/>
                  <a:gd name="connsiteX21" fmla="*/ 83910 w 805532"/>
                  <a:gd name="connsiteY21" fmla="*/ 0 h 68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05532" h="687929">
                    <a:moveTo>
                      <a:pt x="184600" y="520107"/>
                    </a:moveTo>
                    <a:lnTo>
                      <a:pt x="620929" y="520110"/>
                    </a:lnTo>
                    <a:cubicBezTo>
                      <a:pt x="667269" y="520110"/>
                      <a:pt x="704838" y="557676"/>
                      <a:pt x="704838" y="604019"/>
                    </a:cubicBezTo>
                    <a:cubicBezTo>
                      <a:pt x="704838" y="650360"/>
                      <a:pt x="667269" y="687929"/>
                      <a:pt x="620926" y="687929"/>
                    </a:cubicBezTo>
                    <a:lnTo>
                      <a:pt x="184600" y="687926"/>
                    </a:lnTo>
                    <a:cubicBezTo>
                      <a:pt x="138257" y="687926"/>
                      <a:pt x="100691" y="650360"/>
                      <a:pt x="100691" y="604019"/>
                    </a:cubicBezTo>
                    <a:cubicBezTo>
                      <a:pt x="100691" y="557676"/>
                      <a:pt x="138257" y="520107"/>
                      <a:pt x="184600" y="520107"/>
                    </a:cubicBezTo>
                    <a:close/>
                    <a:moveTo>
                      <a:pt x="117472" y="260053"/>
                    </a:moveTo>
                    <a:lnTo>
                      <a:pt x="688057" y="260053"/>
                    </a:lnTo>
                    <a:cubicBezTo>
                      <a:pt x="734401" y="260053"/>
                      <a:pt x="771967" y="297622"/>
                      <a:pt x="771967" y="343963"/>
                    </a:cubicBezTo>
                    <a:cubicBezTo>
                      <a:pt x="771967" y="390306"/>
                      <a:pt x="734398" y="427875"/>
                      <a:pt x="688057" y="427875"/>
                    </a:cubicBezTo>
                    <a:lnTo>
                      <a:pt x="117472" y="427872"/>
                    </a:lnTo>
                    <a:cubicBezTo>
                      <a:pt x="71132" y="427872"/>
                      <a:pt x="33566" y="390306"/>
                      <a:pt x="33563" y="343963"/>
                    </a:cubicBezTo>
                    <a:cubicBezTo>
                      <a:pt x="33566" y="297622"/>
                      <a:pt x="71132" y="260053"/>
                      <a:pt x="117472" y="260053"/>
                    </a:cubicBezTo>
                    <a:close/>
                    <a:moveTo>
                      <a:pt x="83910" y="0"/>
                    </a:moveTo>
                    <a:lnTo>
                      <a:pt x="721623" y="0"/>
                    </a:lnTo>
                    <a:cubicBezTo>
                      <a:pt x="767963" y="0"/>
                      <a:pt x="805532" y="37569"/>
                      <a:pt x="805532" y="83910"/>
                    </a:cubicBezTo>
                    <a:lnTo>
                      <a:pt x="805529" y="83910"/>
                    </a:lnTo>
                    <a:cubicBezTo>
                      <a:pt x="805529" y="130253"/>
                      <a:pt x="767963" y="167819"/>
                      <a:pt x="721620" y="167819"/>
                    </a:cubicBezTo>
                    <a:lnTo>
                      <a:pt x="83910" y="167819"/>
                    </a:lnTo>
                    <a:cubicBezTo>
                      <a:pt x="37569" y="167819"/>
                      <a:pt x="0" y="130253"/>
                      <a:pt x="0" y="83910"/>
                    </a:cubicBezTo>
                    <a:cubicBezTo>
                      <a:pt x="0" y="37566"/>
                      <a:pt x="37569" y="0"/>
                      <a:pt x="8391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sp>
            <p:nvSpPr>
              <p:cNvPr id="11" name="Freeform: Shape 10">
                <a:extLst>
                  <a:ext uri="{FF2B5EF4-FFF2-40B4-BE49-F238E27FC236}">
                    <a16:creationId xmlns:a16="http://schemas.microsoft.com/office/drawing/2014/main" id="{3C12866D-7C50-423B-97C6-3A44AEC2FF89}"/>
                  </a:ext>
                </a:extLst>
              </p:cNvPr>
              <p:cNvSpPr/>
              <p:nvPr/>
            </p:nvSpPr>
            <p:spPr>
              <a:xfrm>
                <a:off x="10608146" y="1032479"/>
                <a:ext cx="761035" cy="1312187"/>
              </a:xfrm>
              <a:custGeom>
                <a:avLst/>
                <a:gdLst>
                  <a:gd name="connsiteX0" fmla="*/ 1028878 w 3847556"/>
                  <a:gd name="connsiteY0" fmla="*/ 0 h 6633998"/>
                  <a:gd name="connsiteX1" fmla="*/ 1293726 w 3847556"/>
                  <a:gd name="connsiteY1" fmla="*/ 264865 h 6633998"/>
                  <a:gd name="connsiteX2" fmla="*/ 1293726 w 3847556"/>
                  <a:gd name="connsiteY2" fmla="*/ 664770 h 6633998"/>
                  <a:gd name="connsiteX3" fmla="*/ 1656529 w 3847556"/>
                  <a:gd name="connsiteY3" fmla="*/ 664770 h 6633998"/>
                  <a:gd name="connsiteX4" fmla="*/ 1656545 w 3847556"/>
                  <a:gd name="connsiteY4" fmla="*/ 264865 h 6633998"/>
                  <a:gd name="connsiteX5" fmla="*/ 1921394 w 3847556"/>
                  <a:gd name="connsiteY5" fmla="*/ 0 h 6633998"/>
                  <a:gd name="connsiteX6" fmla="*/ 2186253 w 3847556"/>
                  <a:gd name="connsiteY6" fmla="*/ 264865 h 6633998"/>
                  <a:gd name="connsiteX7" fmla="*/ 2186253 w 3847556"/>
                  <a:gd name="connsiteY7" fmla="*/ 664770 h 6633998"/>
                  <a:gd name="connsiteX8" fmla="*/ 2549056 w 3847556"/>
                  <a:gd name="connsiteY8" fmla="*/ 664770 h 6633998"/>
                  <a:gd name="connsiteX9" fmla="*/ 2549056 w 3847556"/>
                  <a:gd name="connsiteY9" fmla="*/ 264865 h 6633998"/>
                  <a:gd name="connsiteX10" fmla="*/ 2813921 w 3847556"/>
                  <a:gd name="connsiteY10" fmla="*/ 0 h 6633998"/>
                  <a:gd name="connsiteX11" fmla="*/ 3078781 w 3847556"/>
                  <a:gd name="connsiteY11" fmla="*/ 264865 h 6633998"/>
                  <a:gd name="connsiteX12" fmla="*/ 3078764 w 3847556"/>
                  <a:gd name="connsiteY12" fmla="*/ 664770 h 6633998"/>
                  <a:gd name="connsiteX13" fmla="*/ 3512447 w 3847556"/>
                  <a:gd name="connsiteY13" fmla="*/ 664770 h 6633998"/>
                  <a:gd name="connsiteX14" fmla="*/ 3520693 w 3847556"/>
                  <a:gd name="connsiteY14" fmla="*/ 668198 h 6633998"/>
                  <a:gd name="connsiteX15" fmla="*/ 3610357 w 3847556"/>
                  <a:gd name="connsiteY15" fmla="*/ 641623 h 6633998"/>
                  <a:gd name="connsiteX16" fmla="*/ 3846084 w 3847556"/>
                  <a:gd name="connsiteY16" fmla="*/ 932715 h 6633998"/>
                  <a:gd name="connsiteX17" fmla="*/ 3273917 w 3847556"/>
                  <a:gd name="connsiteY17" fmla="*/ 6376417 h 6633998"/>
                  <a:gd name="connsiteX18" fmla="*/ 2982826 w 3847556"/>
                  <a:gd name="connsiteY18" fmla="*/ 6612116 h 6633998"/>
                  <a:gd name="connsiteX19" fmla="*/ 2747105 w 3847556"/>
                  <a:gd name="connsiteY19" fmla="*/ 6321024 h 6633998"/>
                  <a:gd name="connsiteX20" fmla="*/ 3304490 w 3847556"/>
                  <a:gd name="connsiteY20" fmla="*/ 1017914 h 6633998"/>
                  <a:gd name="connsiteX21" fmla="*/ 3078764 w 3847556"/>
                  <a:gd name="connsiteY21" fmla="*/ 1017930 h 6633998"/>
                  <a:gd name="connsiteX22" fmla="*/ 3078764 w 3847556"/>
                  <a:gd name="connsiteY22" fmla="*/ 1417857 h 6633998"/>
                  <a:gd name="connsiteX23" fmla="*/ 2813921 w 3847556"/>
                  <a:gd name="connsiteY23" fmla="*/ 1682700 h 6633998"/>
                  <a:gd name="connsiteX24" fmla="*/ 2549056 w 3847556"/>
                  <a:gd name="connsiteY24" fmla="*/ 1417841 h 6633998"/>
                  <a:gd name="connsiteX25" fmla="*/ 2549056 w 3847556"/>
                  <a:gd name="connsiteY25" fmla="*/ 1017930 h 6633998"/>
                  <a:gd name="connsiteX26" fmla="*/ 2186253 w 3847556"/>
                  <a:gd name="connsiteY26" fmla="*/ 1017930 h 6633998"/>
                  <a:gd name="connsiteX27" fmla="*/ 2186237 w 3847556"/>
                  <a:gd name="connsiteY27" fmla="*/ 1417841 h 6633998"/>
                  <a:gd name="connsiteX28" fmla="*/ 1921394 w 3847556"/>
                  <a:gd name="connsiteY28" fmla="*/ 1682700 h 6633998"/>
                  <a:gd name="connsiteX29" fmla="*/ 1656529 w 3847556"/>
                  <a:gd name="connsiteY29" fmla="*/ 1417841 h 6633998"/>
                  <a:gd name="connsiteX30" fmla="*/ 1656529 w 3847556"/>
                  <a:gd name="connsiteY30" fmla="*/ 1017930 h 6633998"/>
                  <a:gd name="connsiteX31" fmla="*/ 1293726 w 3847556"/>
                  <a:gd name="connsiteY31" fmla="*/ 1017930 h 6633998"/>
                  <a:gd name="connsiteX32" fmla="*/ 1293726 w 3847556"/>
                  <a:gd name="connsiteY32" fmla="*/ 1417841 h 6633998"/>
                  <a:gd name="connsiteX33" fmla="*/ 1216149 w 3847556"/>
                  <a:gd name="connsiteY33" fmla="*/ 1605128 h 6633998"/>
                  <a:gd name="connsiteX34" fmla="*/ 1028872 w 3847556"/>
                  <a:gd name="connsiteY34" fmla="*/ 1682700 h 6633998"/>
                  <a:gd name="connsiteX35" fmla="*/ 841580 w 3847556"/>
                  <a:gd name="connsiteY35" fmla="*/ 1605122 h 6633998"/>
                  <a:gd name="connsiteX36" fmla="*/ 764018 w 3847556"/>
                  <a:gd name="connsiteY36" fmla="*/ 1417841 h 6633998"/>
                  <a:gd name="connsiteX37" fmla="*/ 764018 w 3847556"/>
                  <a:gd name="connsiteY37" fmla="*/ 1017914 h 6633998"/>
                  <a:gd name="connsiteX38" fmla="*/ 539645 w 3847556"/>
                  <a:gd name="connsiteY38" fmla="*/ 1017930 h 6633998"/>
                  <a:gd name="connsiteX39" fmla="*/ 1005791 w 3847556"/>
                  <a:gd name="connsiteY39" fmla="*/ 6346040 h 6633998"/>
                  <a:gd name="connsiteX40" fmla="*/ 765023 w 3847556"/>
                  <a:gd name="connsiteY40" fmla="*/ 6632976 h 6633998"/>
                  <a:gd name="connsiteX41" fmla="*/ 478087 w 3847556"/>
                  <a:gd name="connsiteY41" fmla="*/ 6392208 h 6633998"/>
                  <a:gd name="connsiteX42" fmla="*/ 1023 w 3847556"/>
                  <a:gd name="connsiteY42" fmla="*/ 939358 h 6633998"/>
                  <a:gd name="connsiteX43" fmla="*/ 241807 w 3847556"/>
                  <a:gd name="connsiteY43" fmla="*/ 652422 h 6633998"/>
                  <a:gd name="connsiteX44" fmla="*/ 311187 w 3847556"/>
                  <a:gd name="connsiteY44" fmla="*/ 674309 h 6633998"/>
                  <a:gd name="connsiteX45" fmla="*/ 334193 w 3847556"/>
                  <a:gd name="connsiteY45" fmla="*/ 664770 h 6633998"/>
                  <a:gd name="connsiteX46" fmla="*/ 764018 w 3847556"/>
                  <a:gd name="connsiteY46" fmla="*/ 664770 h 6633998"/>
                  <a:gd name="connsiteX47" fmla="*/ 764018 w 3847556"/>
                  <a:gd name="connsiteY47" fmla="*/ 264865 h 6633998"/>
                  <a:gd name="connsiteX48" fmla="*/ 1028878 w 3847556"/>
                  <a:gd name="connsiteY48" fmla="*/ 0 h 663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847556" h="6633998">
                    <a:moveTo>
                      <a:pt x="1028878" y="0"/>
                    </a:moveTo>
                    <a:cubicBezTo>
                      <a:pt x="1175157" y="0"/>
                      <a:pt x="1293726" y="118591"/>
                      <a:pt x="1293726" y="264865"/>
                    </a:cubicBezTo>
                    <a:lnTo>
                      <a:pt x="1293726" y="664770"/>
                    </a:lnTo>
                    <a:lnTo>
                      <a:pt x="1656529" y="664770"/>
                    </a:lnTo>
                    <a:lnTo>
                      <a:pt x="1656545" y="264865"/>
                    </a:lnTo>
                    <a:cubicBezTo>
                      <a:pt x="1656529" y="118591"/>
                      <a:pt x="1775115" y="17"/>
                      <a:pt x="1921394" y="0"/>
                    </a:cubicBezTo>
                    <a:cubicBezTo>
                      <a:pt x="2067668" y="17"/>
                      <a:pt x="2186237" y="118591"/>
                      <a:pt x="2186253" y="264865"/>
                    </a:cubicBezTo>
                    <a:lnTo>
                      <a:pt x="2186253" y="664770"/>
                    </a:lnTo>
                    <a:lnTo>
                      <a:pt x="2549056" y="664770"/>
                    </a:lnTo>
                    <a:lnTo>
                      <a:pt x="2549056" y="264865"/>
                    </a:lnTo>
                    <a:cubicBezTo>
                      <a:pt x="2549056" y="118575"/>
                      <a:pt x="2667642" y="0"/>
                      <a:pt x="2813921" y="0"/>
                    </a:cubicBezTo>
                    <a:cubicBezTo>
                      <a:pt x="2960211" y="0"/>
                      <a:pt x="3078781" y="118591"/>
                      <a:pt x="3078781" y="264865"/>
                    </a:cubicBezTo>
                    <a:lnTo>
                      <a:pt x="3078764" y="664770"/>
                    </a:lnTo>
                    <a:lnTo>
                      <a:pt x="3512447" y="664770"/>
                    </a:lnTo>
                    <a:lnTo>
                      <a:pt x="3520693" y="668198"/>
                    </a:lnTo>
                    <a:cubicBezTo>
                      <a:pt x="3545659" y="640863"/>
                      <a:pt x="3577628" y="638174"/>
                      <a:pt x="3610357" y="641623"/>
                    </a:cubicBezTo>
                    <a:cubicBezTo>
                      <a:pt x="3755838" y="656915"/>
                      <a:pt x="3861375" y="787234"/>
                      <a:pt x="3846084" y="932715"/>
                    </a:cubicBezTo>
                    <a:cubicBezTo>
                      <a:pt x="3655380" y="2747282"/>
                      <a:pt x="3464643" y="4561839"/>
                      <a:pt x="3273917" y="6376417"/>
                    </a:cubicBezTo>
                    <a:cubicBezTo>
                      <a:pt x="3258626" y="6521887"/>
                      <a:pt x="3128312" y="6627419"/>
                      <a:pt x="2982826" y="6612116"/>
                    </a:cubicBezTo>
                    <a:cubicBezTo>
                      <a:pt x="2837361" y="6596835"/>
                      <a:pt x="2731824" y="6466505"/>
                      <a:pt x="2747105" y="6321024"/>
                    </a:cubicBezTo>
                    <a:lnTo>
                      <a:pt x="3304490" y="1017914"/>
                    </a:lnTo>
                    <a:lnTo>
                      <a:pt x="3078764" y="1017930"/>
                    </a:lnTo>
                    <a:cubicBezTo>
                      <a:pt x="3078764" y="1151232"/>
                      <a:pt x="3078764" y="1284539"/>
                      <a:pt x="3078764" y="1417857"/>
                    </a:cubicBezTo>
                    <a:cubicBezTo>
                      <a:pt x="3078764" y="1564114"/>
                      <a:pt x="2960195" y="1682700"/>
                      <a:pt x="2813921" y="1682700"/>
                    </a:cubicBezTo>
                    <a:cubicBezTo>
                      <a:pt x="2667631" y="1682700"/>
                      <a:pt x="2549056" y="1564131"/>
                      <a:pt x="2549056" y="1417841"/>
                    </a:cubicBezTo>
                    <a:lnTo>
                      <a:pt x="2549056" y="1017930"/>
                    </a:lnTo>
                    <a:lnTo>
                      <a:pt x="2186253" y="1017930"/>
                    </a:lnTo>
                    <a:cubicBezTo>
                      <a:pt x="2186237" y="1151221"/>
                      <a:pt x="2186237" y="1284555"/>
                      <a:pt x="2186237" y="1417841"/>
                    </a:cubicBezTo>
                    <a:cubicBezTo>
                      <a:pt x="2186237" y="1564131"/>
                      <a:pt x="2067651" y="1682700"/>
                      <a:pt x="1921394" y="1682700"/>
                    </a:cubicBezTo>
                    <a:cubicBezTo>
                      <a:pt x="1775115" y="1682700"/>
                      <a:pt x="1656529" y="1564131"/>
                      <a:pt x="1656529" y="1417841"/>
                    </a:cubicBezTo>
                    <a:lnTo>
                      <a:pt x="1656529" y="1017930"/>
                    </a:lnTo>
                    <a:lnTo>
                      <a:pt x="1293726" y="1017930"/>
                    </a:lnTo>
                    <a:cubicBezTo>
                      <a:pt x="1293710" y="1151221"/>
                      <a:pt x="1293726" y="1284539"/>
                      <a:pt x="1293726" y="1417841"/>
                    </a:cubicBezTo>
                    <a:cubicBezTo>
                      <a:pt x="1293726" y="1490986"/>
                      <a:pt x="1264077" y="1557199"/>
                      <a:pt x="1216149" y="1605128"/>
                    </a:cubicBezTo>
                    <a:lnTo>
                      <a:pt x="1028872" y="1682700"/>
                    </a:lnTo>
                    <a:lnTo>
                      <a:pt x="841580" y="1605122"/>
                    </a:lnTo>
                    <a:cubicBezTo>
                      <a:pt x="793651" y="1557199"/>
                      <a:pt x="764007" y="1490986"/>
                      <a:pt x="764018" y="1417841"/>
                    </a:cubicBezTo>
                    <a:lnTo>
                      <a:pt x="764018" y="1017914"/>
                    </a:lnTo>
                    <a:lnTo>
                      <a:pt x="539645" y="1017930"/>
                    </a:lnTo>
                    <a:cubicBezTo>
                      <a:pt x="695040" y="2793967"/>
                      <a:pt x="850418" y="4570003"/>
                      <a:pt x="1005791" y="6346040"/>
                    </a:cubicBezTo>
                    <a:cubicBezTo>
                      <a:pt x="1018529" y="6491754"/>
                      <a:pt x="910743" y="6620221"/>
                      <a:pt x="765023" y="6632976"/>
                    </a:cubicBezTo>
                    <a:cubicBezTo>
                      <a:pt x="619293" y="6645714"/>
                      <a:pt x="490842" y="6537928"/>
                      <a:pt x="478087" y="6392208"/>
                    </a:cubicBezTo>
                    <a:lnTo>
                      <a:pt x="1023" y="939358"/>
                    </a:lnTo>
                    <a:cubicBezTo>
                      <a:pt x="-11716" y="793639"/>
                      <a:pt x="96076" y="665177"/>
                      <a:pt x="241807" y="652422"/>
                    </a:cubicBezTo>
                    <a:lnTo>
                      <a:pt x="311187" y="674309"/>
                    </a:lnTo>
                    <a:cubicBezTo>
                      <a:pt x="317983" y="665335"/>
                      <a:pt x="326028" y="664770"/>
                      <a:pt x="334193" y="664770"/>
                    </a:cubicBezTo>
                    <a:lnTo>
                      <a:pt x="764018" y="664770"/>
                    </a:lnTo>
                    <a:lnTo>
                      <a:pt x="764018" y="264865"/>
                    </a:lnTo>
                    <a:cubicBezTo>
                      <a:pt x="764018" y="118591"/>
                      <a:pt x="882588" y="0"/>
                      <a:pt x="1028878"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grpSp>
        <p:grpSp>
          <p:nvGrpSpPr>
            <p:cNvPr id="5" name="Group 4">
              <a:extLst>
                <a:ext uri="{FF2B5EF4-FFF2-40B4-BE49-F238E27FC236}">
                  <a16:creationId xmlns:a16="http://schemas.microsoft.com/office/drawing/2014/main" id="{D91F9EF7-4F87-415C-8160-7E56B60DA9F9}"/>
                </a:ext>
              </a:extLst>
            </p:cNvPr>
            <p:cNvGrpSpPr/>
            <p:nvPr/>
          </p:nvGrpSpPr>
          <p:grpSpPr>
            <a:xfrm>
              <a:off x="0" y="6374086"/>
              <a:ext cx="11401431" cy="237804"/>
              <a:chOff x="0" y="6374086"/>
              <a:chExt cx="11401431" cy="237804"/>
            </a:xfrm>
          </p:grpSpPr>
          <p:sp>
            <p:nvSpPr>
              <p:cNvPr id="6" name="Rectangle 5">
                <a:extLst>
                  <a:ext uri="{FF2B5EF4-FFF2-40B4-BE49-F238E27FC236}">
                    <a16:creationId xmlns:a16="http://schemas.microsoft.com/office/drawing/2014/main" id="{5AE59EE2-572E-4B51-AE32-612BBCC09DE1}"/>
                  </a:ext>
                </a:extLst>
              </p:cNvPr>
              <p:cNvSpPr/>
              <p:nvPr/>
            </p:nvSpPr>
            <p:spPr>
              <a:xfrm>
                <a:off x="0" y="6566170"/>
                <a:ext cx="11311128"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sp>
            <p:nvSpPr>
              <p:cNvPr id="7" name="Rectangle 6">
                <a:extLst>
                  <a:ext uri="{FF2B5EF4-FFF2-40B4-BE49-F238E27FC236}">
                    <a16:creationId xmlns:a16="http://schemas.microsoft.com/office/drawing/2014/main" id="{4CB77414-9E89-4E91-A109-7F250477ACA9}"/>
                  </a:ext>
                </a:extLst>
              </p:cNvPr>
              <p:cNvSpPr/>
              <p:nvPr/>
            </p:nvSpPr>
            <p:spPr>
              <a:xfrm>
                <a:off x="11355711" y="6374086"/>
                <a:ext cx="45720" cy="155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sp>
            <p:nvSpPr>
              <p:cNvPr id="8" name="Block Arc 7">
                <a:extLst>
                  <a:ext uri="{FF2B5EF4-FFF2-40B4-BE49-F238E27FC236}">
                    <a16:creationId xmlns:a16="http://schemas.microsoft.com/office/drawing/2014/main" id="{5F4ACB2E-D9DA-474D-ACD0-6D4C5B5B69E1}"/>
                  </a:ext>
                </a:extLst>
              </p:cNvPr>
              <p:cNvSpPr/>
              <p:nvPr/>
            </p:nvSpPr>
            <p:spPr>
              <a:xfrm>
                <a:off x="11229678" y="6440137"/>
                <a:ext cx="171753" cy="171753"/>
              </a:xfrm>
              <a:prstGeom prst="blockArc">
                <a:avLst>
                  <a:gd name="adj1" fmla="val 21339429"/>
                  <a:gd name="adj2" fmla="val 6091498"/>
                  <a:gd name="adj3" fmla="val 2709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solidFill>
                    <a:schemeClr val="tx1"/>
                  </a:solidFill>
                </a:endParaRPr>
              </a:p>
            </p:txBody>
          </p:sp>
        </p:grpSp>
      </p:grpSp>
    </p:spTree>
    <p:extLst>
      <p:ext uri="{BB962C8B-B14F-4D97-AF65-F5344CB8AC3E}">
        <p14:creationId xmlns:p14="http://schemas.microsoft.com/office/powerpoint/2010/main" val="39143432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892348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Images and Contents Layout">
    <p:spTree>
      <p:nvGrpSpPr>
        <p:cNvPr id="1" name=""/>
        <p:cNvGrpSpPr/>
        <p:nvPr/>
      </p:nvGrpSpPr>
      <p:grpSpPr>
        <a:xfrm>
          <a:off x="0" y="0"/>
          <a:ext cx="0" cy="0"/>
          <a:chOff x="0" y="0"/>
          <a:chExt cx="0" cy="0"/>
        </a:xfrm>
      </p:grpSpPr>
      <p:sp>
        <p:nvSpPr>
          <p:cNvPr id="3" name="Rectangle 2"/>
          <p:cNvSpPr/>
          <p:nvPr userDrawn="1"/>
        </p:nvSpPr>
        <p:spPr>
          <a:xfrm>
            <a:off x="2" y="5949280"/>
            <a:ext cx="11459897" cy="792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제목 1"/>
          <p:cNvSpPr>
            <a:spLocks noGrp="1"/>
          </p:cNvSpPr>
          <p:nvPr>
            <p:ph type="title" hasCustomPrompt="1"/>
          </p:nvPr>
        </p:nvSpPr>
        <p:spPr>
          <a:xfrm>
            <a:off x="815415" y="6021289"/>
            <a:ext cx="10561173" cy="648072"/>
          </a:xfrm>
          <a:prstGeom prst="rect">
            <a:avLst/>
          </a:prstGeom>
        </p:spPr>
        <p:txBody>
          <a:bodyPr anchor="ctr">
            <a:noAutofit/>
          </a:bodyPr>
          <a:lstStyle>
            <a:lvl1pPr algn="l">
              <a:defRPr sz="4799" b="0" baseline="0">
                <a:solidFill>
                  <a:schemeClr val="bg1"/>
                </a:solidFill>
                <a:latin typeface="+mj-lt"/>
                <a:cs typeface="Arial" pitchFamily="34" charset="0"/>
              </a:defRPr>
            </a:lvl1pPr>
          </a:lstStyle>
          <a:p>
            <a:r>
              <a:rPr lang="en-US" altLang="ko-KR" dirty="0"/>
              <a:t>IMAGES AND CONTENTS</a:t>
            </a:r>
            <a:endParaRPr lang="ko-KR" altLang="en-US" dirty="0"/>
          </a:p>
        </p:txBody>
      </p:sp>
      <p:sp>
        <p:nvSpPr>
          <p:cNvPr id="2" name="Rectangle 1"/>
          <p:cNvSpPr/>
          <p:nvPr userDrawn="1"/>
        </p:nvSpPr>
        <p:spPr>
          <a:xfrm>
            <a:off x="237265" y="188640"/>
            <a:ext cx="5800824" cy="23762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latin typeface="+mn-lt"/>
            </a:endParaRPr>
          </a:p>
        </p:txBody>
      </p:sp>
      <p:sp>
        <p:nvSpPr>
          <p:cNvPr id="5" name="Rectangle 4"/>
          <p:cNvSpPr/>
          <p:nvPr userDrawn="1"/>
        </p:nvSpPr>
        <p:spPr>
          <a:xfrm>
            <a:off x="6158509" y="188640"/>
            <a:ext cx="5832243" cy="23762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latin typeface="+mn-lt"/>
            </a:endParaRPr>
          </a:p>
        </p:txBody>
      </p:sp>
      <p:sp>
        <p:nvSpPr>
          <p:cNvPr id="7" name="Picture Placeholder 2"/>
          <p:cNvSpPr>
            <a:spLocks noGrp="1"/>
          </p:cNvSpPr>
          <p:nvPr>
            <p:ph type="pic" idx="15" hasCustomPrompt="1"/>
          </p:nvPr>
        </p:nvSpPr>
        <p:spPr>
          <a:xfrm>
            <a:off x="237267" y="302186"/>
            <a:ext cx="3266447" cy="2149177"/>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086" indent="0">
              <a:buNone/>
              <a:defRPr sz="2800"/>
            </a:lvl2pPr>
            <a:lvl3pPr marL="914172" indent="0">
              <a:buNone/>
              <a:defRPr sz="2400"/>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r>
              <a:rPr lang="en-US" altLang="ko-KR" dirty="0"/>
              <a:t>Your Picture Here</a:t>
            </a:r>
            <a:endParaRPr lang="ko-KR" altLang="en-US" dirty="0"/>
          </a:p>
        </p:txBody>
      </p:sp>
      <p:sp>
        <p:nvSpPr>
          <p:cNvPr id="8" name="Picture Placeholder 2"/>
          <p:cNvSpPr>
            <a:spLocks noGrp="1"/>
          </p:cNvSpPr>
          <p:nvPr>
            <p:ph type="pic" idx="16" hasCustomPrompt="1"/>
          </p:nvPr>
        </p:nvSpPr>
        <p:spPr>
          <a:xfrm>
            <a:off x="6158510" y="302186"/>
            <a:ext cx="3266447" cy="2149177"/>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086" indent="0">
              <a:buNone/>
              <a:defRPr sz="2800"/>
            </a:lvl2pPr>
            <a:lvl3pPr marL="914172" indent="0">
              <a:buNone/>
              <a:defRPr sz="2400"/>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r>
              <a:rPr lang="en-US" altLang="ko-KR" dirty="0"/>
              <a:t>Your Picture Here</a:t>
            </a:r>
            <a:endParaRPr lang="ko-KR" altLang="en-US" dirty="0"/>
          </a:p>
        </p:txBody>
      </p:sp>
      <p:sp>
        <p:nvSpPr>
          <p:cNvPr id="9" name="Picture Placeholder 2"/>
          <p:cNvSpPr>
            <a:spLocks noGrp="1"/>
          </p:cNvSpPr>
          <p:nvPr>
            <p:ph type="pic" idx="17" hasCustomPrompt="1"/>
          </p:nvPr>
        </p:nvSpPr>
        <p:spPr>
          <a:xfrm>
            <a:off x="5262664" y="2708920"/>
            <a:ext cx="6929337" cy="3168352"/>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086" indent="0">
              <a:buNone/>
              <a:defRPr sz="2800"/>
            </a:lvl2pPr>
            <a:lvl3pPr marL="914172" indent="0">
              <a:buNone/>
              <a:defRPr sz="2400"/>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590561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336887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10033163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Tree>
    <p:extLst>
      <p:ext uri="{BB962C8B-B14F-4D97-AF65-F5344CB8AC3E}">
        <p14:creationId xmlns:p14="http://schemas.microsoft.com/office/powerpoint/2010/main" val="38490990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ntents slide layout">
    <p:bg>
      <p:bgPr>
        <a:solidFill>
          <a:schemeClr val="bg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30" y="339510"/>
            <a:ext cx="11573197" cy="724247"/>
          </a:xfrm>
          <a:prstGeom prst="rect">
            <a:avLst/>
          </a:prstGeom>
        </p:spPr>
        <p:txBody>
          <a:bodyPr tIns="91440" anchor="ctr"/>
          <a:lstStyle>
            <a:lvl1pPr marL="0" indent="0" algn="ctr">
              <a:buNone/>
              <a:defRPr sz="5399" b="0" baseline="0">
                <a:solidFill>
                  <a:schemeClr val="tx1"/>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40358404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3547098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2322395401"/>
      </p:ext>
    </p:extLst>
  </p:cSld>
  <p:clrMapOvr>
    <a:masterClrMapping/>
  </p:clrMapOvr>
</p:sldLayout>
</file>

<file path=ppt/slideLayouts/slideLayout3.xml><?xml version="1.0" encoding="utf-8"?>
<p:sldLayout xmlns:p="http://schemas.openxmlformats.org/presentationml/2006/main" xmlns:a="http://schemas.openxmlformats.org/drawingml/2006/main" xmlns:r="http://schemas.openxmlformats.org/officeDocument/2006/relationships" userDrawn="1">
  <p:cSld name="3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D4F0292-B96E-2F63-275E-223C71796DC8}"/>
              </a:ext>
            </a:extLst>
          </p:cNvPr>
          <p:cNvSpPr/>
          <p:nvPr userDrawn="1"/>
        </p:nvSpPr>
        <p:spPr>
          <a:xfrm>
            <a:off x="10567687" y="5729468"/>
            <a:ext cx="1624314" cy="11285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dirty="0" lang="en-US"/>
          </a:p>
        </p:txBody>
      </p:sp>
      <p:pic>
        <p:nvPicPr>
          <p:cNvPr descr="A map of a city&#10;&#10;Description automatically generated with low confidence" id="11" name="Picture 10">
            <a:extLst>
              <a:ext uri="{FF2B5EF4-FFF2-40B4-BE49-F238E27FC236}">
                <a16:creationId xmlns:a16="http://schemas.microsoft.com/office/drawing/2014/main" id="{C0F07700-F2F6-D25E-98FE-71B003902F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365760" y="0"/>
            <a:ext cx="11826240" cy="6858000"/>
          </a:xfrm>
          <a:prstGeom prst="rect">
            <a:avLst/>
          </a:prstGeom>
        </p:spPr>
      </p:pic>
      <p:sp>
        <p:nvSpPr>
          <p:cNvPr id="9" name="Rectangle 8">
            <a:extLst>
              <a:ext uri="{FF2B5EF4-FFF2-40B4-BE49-F238E27FC236}">
                <a16:creationId xmlns:a16="http://schemas.microsoft.com/office/drawing/2014/main" id="{D401695D-F176-4964-8D55-7B4860832887}"/>
              </a:ext>
            </a:extLst>
          </p:cNvPr>
          <p:cNvSpPr/>
          <p:nvPr userDrawn="1"/>
        </p:nvSpPr>
        <p:spPr>
          <a:xfrm>
            <a:off x="0" y="2330824"/>
            <a:ext cx="7799294" cy="11902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dirty="0" lang="en-ZA"/>
          </a:p>
        </p:txBody>
      </p:sp>
      <p:sp>
        <p:nvSpPr>
          <p:cNvPr id="3" name="Subtitle 2">
            <a:extLst>
              <a:ext uri="{FF2B5EF4-FFF2-40B4-BE49-F238E27FC236}">
                <a16:creationId xmlns:a16="http://schemas.microsoft.com/office/drawing/2014/main" id="{1A348DA1-EA3C-434D-B228-92E07899C374}"/>
              </a:ext>
            </a:extLst>
          </p:cNvPr>
          <p:cNvSpPr>
            <a:spLocks noGrp="1"/>
          </p:cNvSpPr>
          <p:nvPr>
            <p:ph idx="1" type="subTitle"/>
          </p:nvPr>
        </p:nvSpPr>
        <p:spPr>
          <a:xfrm>
            <a:off x="838200" y="3601760"/>
            <a:ext cx="5880847" cy="548621"/>
          </a:xfrm>
        </p:spPr>
        <p:txBody>
          <a:bodyPr/>
          <a:lstStyle>
            <a:lvl1pPr algn="l" indent="0" marL="0">
              <a:buNone/>
              <a:defRPr sz="2400">
                <a:solidFill>
                  <a:srgbClr val="15A98F"/>
                </a:solidFill>
                <a:latin charset="0" panose="020B0502020202020204" pitchFamily="34" typeface="Century Gothic"/>
              </a:defRPr>
            </a:lvl1pPr>
            <a:lvl2pPr algn="ctr" indent="0" marL="457200">
              <a:buNone/>
              <a:defRPr sz="2000"/>
            </a:lvl2pPr>
            <a:lvl3pPr algn="ctr" indent="0" marL="914400">
              <a:buNone/>
              <a:defRPr sz="1800"/>
            </a:lvl3pPr>
            <a:lvl4pPr algn="ctr" indent="0" marL="1371600">
              <a:buNone/>
              <a:defRPr sz="1600"/>
            </a:lvl4pPr>
            <a:lvl5pPr algn="ctr" indent="0" marL="1828800">
              <a:buNone/>
              <a:defRPr sz="1600"/>
            </a:lvl5pPr>
            <a:lvl6pPr algn="ctr" indent="0" marL="2286000">
              <a:buNone/>
              <a:defRPr sz="1600"/>
            </a:lvl6pPr>
            <a:lvl7pPr algn="ctr" indent="0" marL="2743200">
              <a:buNone/>
              <a:defRPr sz="1600"/>
            </a:lvl7pPr>
            <a:lvl8pPr algn="ctr" indent="0" marL="3200400">
              <a:buNone/>
              <a:defRPr sz="1600"/>
            </a:lvl8pPr>
            <a:lvl9pPr algn="ctr" indent="0" marL="3657600">
              <a:buNone/>
              <a:defRPr sz="1600"/>
            </a:lvl9pPr>
          </a:lstStyle>
          <a:p>
            <a:r>
              <a:rPr dirty="0" lang="en-US"/>
              <a:t>Click to edit Master subtitle style</a:t>
            </a:r>
            <a:endParaRPr dirty="0" lang="en-ZA"/>
          </a:p>
        </p:txBody>
      </p:sp>
      <p:sp>
        <p:nvSpPr>
          <p:cNvPr id="4" name="Date Placeholder 3">
            <a:extLst>
              <a:ext uri="{FF2B5EF4-FFF2-40B4-BE49-F238E27FC236}">
                <a16:creationId xmlns:a16="http://schemas.microsoft.com/office/drawing/2014/main" id="{998B9F75-CDF8-4F55-ACD3-913220AED0D2}"/>
              </a:ext>
            </a:extLst>
          </p:cNvPr>
          <p:cNvSpPr>
            <a:spLocks noGrp="1"/>
          </p:cNvSpPr>
          <p:nvPr>
            <p:ph idx="10" sz="half" type="dt"/>
          </p:nvPr>
        </p:nvSpPr>
        <p:spPr/>
        <p:txBody>
          <a:bodyPr/>
          <a:lstStyle/>
          <a:p>
            <a:fld id="{8D5E6B6B-B29C-450A-A52F-B6A77785A91C}" type="datetime1">
              <a:rPr lang="en-ZA" smtClean="0"/>
              <a:t>2023/06/21</a:t>
            </a:fld>
            <a:endParaRPr dirty="0" lang="en-ZA"/>
          </a:p>
        </p:txBody>
      </p:sp>
      <p:sp>
        <p:nvSpPr>
          <p:cNvPr id="5" name="Footer Placeholder 4">
            <a:extLst>
              <a:ext uri="{FF2B5EF4-FFF2-40B4-BE49-F238E27FC236}">
                <a16:creationId xmlns:a16="http://schemas.microsoft.com/office/drawing/2014/main" id="{A2523AB5-F060-4E5A-9C0C-3C7D19EE646C}"/>
              </a:ext>
            </a:extLst>
          </p:cNvPr>
          <p:cNvSpPr>
            <a:spLocks noGrp="1"/>
          </p:cNvSpPr>
          <p:nvPr>
            <p:ph idx="11" sz="quarter" type="ftr"/>
          </p:nvPr>
        </p:nvSpPr>
        <p:spPr/>
        <p:txBody>
          <a:bodyPr/>
          <a:lstStyle/>
          <a:p>
            <a:r>
              <a:rPr dirty="0" lang="en-ZA"/>
              <a:t>MFMA 2020-2021</a:t>
            </a:r>
          </a:p>
        </p:txBody>
      </p:sp>
      <p:sp>
        <p:nvSpPr>
          <p:cNvPr id="6" name="Slide Number Placeholder 5">
            <a:extLst>
              <a:ext uri="{FF2B5EF4-FFF2-40B4-BE49-F238E27FC236}">
                <a16:creationId xmlns:a16="http://schemas.microsoft.com/office/drawing/2014/main" id="{FD7CD38B-B6CB-45B2-99CC-AB173AD7A5EA}"/>
              </a:ext>
            </a:extLst>
          </p:cNvPr>
          <p:cNvSpPr>
            <a:spLocks noGrp="1"/>
          </p:cNvSpPr>
          <p:nvPr>
            <p:ph idx="12" sz="quarter" type="sldNum"/>
          </p:nvPr>
        </p:nvSpPr>
        <p:spPr/>
        <p:txBody>
          <a:bodyPr/>
          <a:lstStyle/>
          <a:p>
            <a:fld id="{44E68EEE-963F-487F-9516-660F28A1E543}" type="slidenum">
              <a:rPr lang="en-ZA" smtClean="0"/>
              <a:t>‹#›</a:t>
            </a:fld>
            <a:endParaRPr dirty="0" lang="en-ZA"/>
          </a:p>
        </p:txBody>
      </p:sp>
      <p:sp>
        <p:nvSpPr>
          <p:cNvPr id="7" name="Oval 6">
            <a:extLst>
              <a:ext uri="{FF2B5EF4-FFF2-40B4-BE49-F238E27FC236}">
                <a16:creationId xmlns:a16="http://schemas.microsoft.com/office/drawing/2014/main" id="{1F6A0945-D679-4BA9-8EB9-0B94F5CE9B30}"/>
              </a:ext>
            </a:extLst>
          </p:cNvPr>
          <p:cNvSpPr/>
          <p:nvPr userDrawn="1"/>
        </p:nvSpPr>
        <p:spPr>
          <a:xfrm>
            <a:off x="7611036" y="2879912"/>
            <a:ext cx="365125" cy="365125"/>
          </a:xfrm>
          <a:prstGeom prst="ellipse">
            <a:avLst/>
          </a:prstGeom>
          <a:solidFill>
            <a:srgbClr val="15A98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dirty="0" lang="en-ZA"/>
          </a:p>
        </p:txBody>
      </p:sp>
      <p:sp>
        <p:nvSpPr>
          <p:cNvPr id="10" name="Title 1">
            <a:extLst>
              <a:ext uri="{FF2B5EF4-FFF2-40B4-BE49-F238E27FC236}">
                <a16:creationId xmlns:a16="http://schemas.microsoft.com/office/drawing/2014/main" id="{06156BF1-A22D-4611-9CDB-8A66C3B2FA22}"/>
              </a:ext>
            </a:extLst>
          </p:cNvPr>
          <p:cNvSpPr txBox="1">
            <a:spLocks/>
          </p:cNvSpPr>
          <p:nvPr userDrawn="1"/>
        </p:nvSpPr>
        <p:spPr>
          <a:xfrm>
            <a:off x="838200" y="2824206"/>
            <a:ext cx="6544235" cy="476535"/>
          </a:xfrm>
          <a:prstGeom prst="rect">
            <a:avLst/>
          </a:prstGeom>
        </p:spPr>
        <p:txBody>
          <a:bodyPr anchor="b" bIns="45720" lIns="91440" rIns="91440" rtlCol="0" tIns="45720" vert="horz">
            <a:noAutofit/>
          </a:bodyPr>
          <a:lstStyle>
            <a:lvl1pPr algn="l" defTabSz="914400" eaLnBrk="1" hangingPunct="1" latinLnBrk="0" rtl="0">
              <a:lnSpc>
                <a:spcPct val="90000"/>
              </a:lnSpc>
              <a:spcBef>
                <a:spcPct val="0"/>
              </a:spcBef>
              <a:buNone/>
              <a:defRPr b="1" kern="1200" sz="2000">
                <a:solidFill>
                  <a:schemeClr val="bg1"/>
                </a:solidFill>
                <a:latin charset="0" panose="020B0502020202020204" pitchFamily="34" typeface="Century Gothic"/>
                <a:ea typeface="+mj-ea"/>
                <a:cs typeface="+mj-cs"/>
              </a:defRPr>
            </a:lvl1pPr>
          </a:lstStyle>
          <a:p>
            <a:endParaRPr dirty="0" lang="en-ZA" sz="2800"/>
          </a:p>
        </p:txBody>
      </p:sp>
    </p:spTree>
    <p:extLst>
      <p:ext uri="{BB962C8B-B14F-4D97-AF65-F5344CB8AC3E}">
        <p14:creationId xmlns:p14="http://schemas.microsoft.com/office/powerpoint/2010/main" val="29048955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4558226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30866414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20639179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36142579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2374190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5" name="Content Placeholder 7"/>
          <p:cNvSpPr>
            <a:spLocks noGrp="1"/>
          </p:cNvSpPr>
          <p:nvPr>
            <p:ph sz="quarter" idx="10"/>
          </p:nvPr>
        </p:nvSpPr>
        <p:spPr>
          <a:xfrm>
            <a:off x="1140977" y="1238081"/>
            <a:ext cx="10398294"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18403637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5" name="Content Placeholder 7"/>
          <p:cNvSpPr>
            <a:spLocks noGrp="1"/>
          </p:cNvSpPr>
          <p:nvPr>
            <p:ph sz="quarter" idx="10"/>
          </p:nvPr>
        </p:nvSpPr>
        <p:spPr>
          <a:xfrm>
            <a:off x="1140977" y="1238081"/>
            <a:ext cx="10398294"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24059251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20722963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5" name="Content Placeholder 7"/>
          <p:cNvSpPr>
            <a:spLocks noGrp="1"/>
          </p:cNvSpPr>
          <p:nvPr>
            <p:ph sz="quarter" idx="10"/>
          </p:nvPr>
        </p:nvSpPr>
        <p:spPr>
          <a:xfrm>
            <a:off x="1140977" y="1238081"/>
            <a:ext cx="10398294" cy="4774301"/>
          </a:xfrm>
          <a:prstGeom prst="rect">
            <a:avLst/>
          </a:prstGeom>
        </p:spPr>
        <p:txBody>
          <a:bodyPr/>
          <a:lstStyle>
            <a:lvl1pPr>
              <a:defRPr sz="2400">
                <a:solidFill>
                  <a:srgbClr val="71708D"/>
                </a:solidFill>
                <a:latin typeface="Century Gothic" charset="0"/>
                <a:ea typeface="Century Gothic" charset="0"/>
                <a:cs typeface="Century Gothic" charset="0"/>
              </a:defRPr>
            </a:lvl1pPr>
            <a:lvl2pPr>
              <a:defRPr sz="2000">
                <a:solidFill>
                  <a:srgbClr val="71708D"/>
                </a:solidFill>
                <a:latin typeface="Century Gothic" charset="0"/>
                <a:ea typeface="Century Gothic" charset="0"/>
                <a:cs typeface="Century Gothic" charset="0"/>
              </a:defRPr>
            </a:lvl2pPr>
            <a:lvl3pPr>
              <a:defRPr sz="1800">
                <a:solidFill>
                  <a:srgbClr val="71708D"/>
                </a:solidFill>
                <a:latin typeface="Century Gothic" charset="0"/>
                <a:ea typeface="Century Gothic" charset="0"/>
                <a:cs typeface="Century Gothic" charset="0"/>
              </a:defRPr>
            </a:lvl3pPr>
            <a:lvl4pPr>
              <a:defRPr sz="1600">
                <a:solidFill>
                  <a:srgbClr val="71708D"/>
                </a:solidFill>
                <a:latin typeface="Century Gothic" charset="0"/>
                <a:ea typeface="Century Gothic" charset="0"/>
                <a:cs typeface="Century Gothic" charset="0"/>
              </a:defRPr>
            </a:lvl4pPr>
            <a:lvl5pPr>
              <a:defRPr sz="1600">
                <a:solidFill>
                  <a:srgbClr val="71708D"/>
                </a:solidFill>
                <a:latin typeface="Century Gothic" charset="0"/>
                <a:ea typeface="Century Gothic" charset="0"/>
                <a:cs typeface="Century Gothic"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9192804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2" name="Title 1"/>
          <p:cNvSpPr>
            <a:spLocks noGrp="1"/>
          </p:cNvSpPr>
          <p:nvPr>
            <p:ph type="title"/>
          </p:nvPr>
        </p:nvSpPr>
        <p:spPr>
          <a:xfrm>
            <a:off x="976214" y="523929"/>
            <a:ext cx="10433556" cy="427894"/>
          </a:xfrm>
          <a:prstGeom prst="rect">
            <a:avLst/>
          </a:prstGeom>
        </p:spPr>
        <p:txBody>
          <a:bodyPr/>
          <a:lstStyle>
            <a:lvl1pPr marL="0" algn="l" defTabSz="914172"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7" name="Picture 6"/>
          <p:cNvPicPr>
            <a:picLocks noChangeAspect="1"/>
          </p:cNvPicPr>
          <p:nvPr userDrawn="1"/>
        </p:nvPicPr>
        <p:blipFill>
          <a:blip r:embed="rId3"/>
          <a:stretch>
            <a:fillRect/>
          </a:stretch>
        </p:blipFill>
        <p:spPr>
          <a:xfrm>
            <a:off x="610605" y="6298747"/>
            <a:ext cx="11023600" cy="368300"/>
          </a:xfrm>
          <a:prstGeom prst="rect">
            <a:avLst/>
          </a:prstGeom>
        </p:spPr>
      </p:pic>
      <p:sp>
        <p:nvSpPr>
          <p:cNvPr id="6" name="TextBox 5"/>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1309421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rgbClr val="00A88E"/>
                </a:solidFill>
              </a:defRPr>
            </a:lvl1pPr>
          </a:lstStyle>
          <a:p>
            <a:r>
              <a:rPr lang="en-US" dirty="0"/>
              <a:t>Click to add title</a:t>
            </a:r>
          </a:p>
        </p:txBody>
      </p:sp>
    </p:spTree>
    <p:extLst>
      <p:ext uri="{BB962C8B-B14F-4D97-AF65-F5344CB8AC3E}">
        <p14:creationId xmlns:p14="http://schemas.microsoft.com/office/powerpoint/2010/main" val="140843693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36918135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726417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31076689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42072565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42663580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22489966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15538337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21979340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42099117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2694619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4C2985-4E75-83B7-822B-F915F530BB4F}"/>
              </a:ext>
            </a:extLst>
          </p:cNvPr>
          <p:cNvSpPr/>
          <p:nvPr userDrawn="1"/>
        </p:nvSpPr>
        <p:spPr>
          <a:xfrm>
            <a:off x="0" y="151619"/>
            <a:ext cx="12192000" cy="593236"/>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548640" y="290848"/>
            <a:ext cx="10438551" cy="481681"/>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sp>
        <p:nvSpPr>
          <p:cNvPr id="4" name="Oval 3">
            <a:extLst>
              <a:ext uri="{FF2B5EF4-FFF2-40B4-BE49-F238E27FC236}">
                <a16:creationId xmlns:a16="http://schemas.microsoft.com/office/drawing/2014/main" id="{A737B0EA-A13A-CE5B-163F-AB31332D7AA0}"/>
              </a:ext>
            </a:extLst>
          </p:cNvPr>
          <p:cNvSpPr/>
          <p:nvPr userDrawn="1"/>
        </p:nvSpPr>
        <p:spPr>
          <a:xfrm>
            <a:off x="11098298" y="35861"/>
            <a:ext cx="824753" cy="824753"/>
          </a:xfrm>
          <a:prstGeom prst="ellipse">
            <a:avLst/>
          </a:prstGeom>
          <a:solidFill>
            <a:srgbClr val="00A88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p:cNvSpPr txBox="1"/>
          <p:nvPr userDrawn="1"/>
        </p:nvSpPr>
        <p:spPr>
          <a:xfrm>
            <a:off x="11209405" y="278960"/>
            <a:ext cx="602539" cy="338554"/>
          </a:xfrm>
          <a:prstGeom prst="rect">
            <a:avLst/>
          </a:prstGeom>
          <a:noFill/>
        </p:spPr>
        <p:txBody>
          <a:bodyPr wrap="square" rtlCol="0">
            <a:spAutoFit/>
          </a:bodyPr>
          <a:lstStyle/>
          <a:p>
            <a:pPr algn="ctr"/>
            <a:fld id="{E6D6A0C0-CE57-0C49-8BA9-382050109D93}" type="slidenum">
              <a:rPr lang="en-US" sz="1600" b="1" smtClean="0">
                <a:solidFill>
                  <a:schemeClr val="bg1"/>
                </a:solidFill>
                <a:latin typeface="Century Gothic" charset="0"/>
                <a:ea typeface="Century Gothic" charset="0"/>
                <a:cs typeface="Century Gothic" charset="0"/>
              </a:rPr>
              <a:pPr algn="ctr"/>
              <a:t>‹#›</a:t>
            </a:fld>
            <a:endParaRPr lang="en-US" sz="1600" b="1" dirty="0">
              <a:solidFill>
                <a:schemeClr val="bg1"/>
              </a:solidFill>
              <a:latin typeface="Century Gothic" charset="0"/>
              <a:ea typeface="Century Gothic" charset="0"/>
              <a:cs typeface="Century Gothic" charset="0"/>
            </a:endParaRPr>
          </a:p>
        </p:txBody>
      </p:sp>
      <p:pic>
        <p:nvPicPr>
          <p:cNvPr id="5" name="Picture 7">
            <a:extLst>
              <a:ext uri="{FF2B5EF4-FFF2-40B4-BE49-F238E27FC236}">
                <a16:creationId xmlns:a16="http://schemas.microsoft.com/office/drawing/2014/main" id="{58F7D7D6-B9EE-FDF6-7FAF-C0F645B471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4" y="6394561"/>
            <a:ext cx="363397" cy="251860"/>
          </a:xfrm>
          <a:prstGeom prst="rect">
            <a:avLst/>
          </a:prstGeom>
        </p:spPr>
      </p:pic>
    </p:spTree>
    <p:extLst>
      <p:ext uri="{BB962C8B-B14F-4D97-AF65-F5344CB8AC3E}">
        <p14:creationId xmlns:p14="http://schemas.microsoft.com/office/powerpoint/2010/main" val="19187374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E24378C1-B97E-47C9-809B-D605ADF0385E}" type="slidenum">
              <a:rPr lang="en-ZA" smtClean="0"/>
              <a:t>‹#›</a:t>
            </a:fld>
            <a:endParaRPr lang="en-ZA" dirty="0"/>
          </a:p>
        </p:txBody>
      </p:sp>
    </p:spTree>
    <p:extLst>
      <p:ext uri="{BB962C8B-B14F-4D97-AF65-F5344CB8AC3E}">
        <p14:creationId xmlns:p14="http://schemas.microsoft.com/office/powerpoint/2010/main" val="13869462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5655"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1880" y="3994379"/>
            <a:ext cx="2384669" cy="263916"/>
          </a:xfrm>
          <a:prstGeom prst="rect">
            <a:avLst/>
          </a:prstGeom>
        </p:spPr>
      </p:pic>
      <p:sp>
        <p:nvSpPr>
          <p:cNvPr id="11" name="Title 1"/>
          <p:cNvSpPr>
            <a:spLocks noGrp="1"/>
          </p:cNvSpPr>
          <p:nvPr>
            <p:ph type="title"/>
          </p:nvPr>
        </p:nvSpPr>
        <p:spPr>
          <a:xfrm>
            <a:off x="752559" y="3038855"/>
            <a:ext cx="10373990" cy="403618"/>
          </a:xfrm>
          <a:prstGeom prst="rect">
            <a:avLst/>
          </a:prstGeom>
          <a:ln>
            <a:noFill/>
          </a:ln>
        </p:spPr>
        <p:txBody>
          <a:bodyPr/>
          <a:lstStyle>
            <a:lvl1pPr marL="0" algn="r" defTabSz="914400" rtl="0" eaLnBrk="1" latinLnBrk="0" hangingPunct="1">
              <a:defRPr lang="en-US" sz="2800" b="1" kern="1200">
                <a:solidFill>
                  <a:srgbClr val="AA998B"/>
                </a:solidFill>
                <a:latin typeface="Century Gothic" charset="0"/>
                <a:ea typeface="Century Gothic" charset="0"/>
                <a:cs typeface="Century Gothic" charset="0"/>
              </a:defRPr>
            </a:lvl1pPr>
          </a:lstStyle>
          <a:p>
            <a:r>
              <a:rPr lang="en-US" dirty="0"/>
              <a:t>Click to edit Master title style</a:t>
            </a:r>
          </a:p>
        </p:txBody>
      </p:sp>
    </p:spTree>
    <p:extLst>
      <p:ext uri="{BB962C8B-B14F-4D97-AF65-F5344CB8AC3E}">
        <p14:creationId xmlns:p14="http://schemas.microsoft.com/office/powerpoint/2010/main" val="18881128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8_Title Only">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853DA2-AAB8-EFEE-5B54-1F5F0E29D4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313"/>
          <a:stretch/>
        </p:blipFill>
        <p:spPr>
          <a:xfrm>
            <a:off x="-76201" y="0"/>
            <a:ext cx="12285091" cy="6858000"/>
          </a:xfrm>
          <a:prstGeom prst="rect">
            <a:avLst/>
          </a:prstGeom>
        </p:spPr>
      </p:pic>
      <p:sp>
        <p:nvSpPr>
          <p:cNvPr id="19" name="Text Placeholder 18">
            <a:extLst>
              <a:ext uri="{FF2B5EF4-FFF2-40B4-BE49-F238E27FC236}">
                <a16:creationId xmlns:a16="http://schemas.microsoft.com/office/drawing/2014/main" id="{75AC7CC6-8059-9C3F-216B-7F74F877622B}"/>
              </a:ext>
            </a:extLst>
          </p:cNvPr>
          <p:cNvSpPr>
            <a:spLocks noGrp="1"/>
          </p:cNvSpPr>
          <p:nvPr>
            <p:ph type="body" sz="quarter" idx="10" hasCustomPrompt="1"/>
          </p:nvPr>
        </p:nvSpPr>
        <p:spPr>
          <a:xfrm>
            <a:off x="781050" y="3637887"/>
            <a:ext cx="7829550" cy="2430666"/>
          </a:xfrm>
        </p:spPr>
        <p:txBody>
          <a:bodyPr/>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en-US" dirty="0"/>
              <a:t>Divider text box</a:t>
            </a:r>
          </a:p>
          <a:p>
            <a:pPr lvl="0"/>
            <a:r>
              <a:rPr lang="en-US" dirty="0"/>
              <a:t>Divider text box</a:t>
            </a:r>
          </a:p>
          <a:p>
            <a:pPr marL="0" marR="0" lvl="0" indent="0" algn="l" defTabSz="617220" eaLnBrk="1" fontAlgn="auto" latinLnBrk="0" hangingPunct="1">
              <a:lnSpc>
                <a:spcPct val="100000"/>
              </a:lnSpc>
              <a:spcBef>
                <a:spcPts val="0"/>
              </a:spcBef>
              <a:spcAft>
                <a:spcPts val="0"/>
              </a:spcAft>
              <a:buClrTx/>
              <a:buSzTx/>
              <a:buFontTx/>
              <a:buNone/>
              <a:tabLst/>
              <a:defRPr/>
            </a:pPr>
            <a:endParaRPr lang="en-US" dirty="0"/>
          </a:p>
        </p:txBody>
      </p:sp>
      <p:sp>
        <p:nvSpPr>
          <p:cNvPr id="23" name="Text Placeholder 22">
            <a:extLst>
              <a:ext uri="{FF2B5EF4-FFF2-40B4-BE49-F238E27FC236}">
                <a16:creationId xmlns:a16="http://schemas.microsoft.com/office/drawing/2014/main" id="{44CCECE8-BFC8-8293-1033-102FE2E78FF9}"/>
              </a:ext>
            </a:extLst>
          </p:cNvPr>
          <p:cNvSpPr>
            <a:spLocks noGrp="1"/>
          </p:cNvSpPr>
          <p:nvPr>
            <p:ph type="body" sz="quarter" idx="11" hasCustomPrompt="1"/>
          </p:nvPr>
        </p:nvSpPr>
        <p:spPr>
          <a:xfrm>
            <a:off x="781050" y="2639553"/>
            <a:ext cx="4521101" cy="789447"/>
          </a:xfrm>
        </p:spPr>
        <p:txBody>
          <a:bodyPr/>
          <a:lstStyle>
            <a:lvl1pPr marL="0" indent="0" algn="l">
              <a:buNone/>
              <a:defRPr sz="2565">
                <a:solidFill>
                  <a:schemeClr val="bg1"/>
                </a:solidFill>
                <a:latin typeface="Century Gothic" panose="020B0502020202020204" pitchFamily="34" charset="0"/>
              </a:defRPr>
            </a:lvl1pPr>
          </a:lstStyle>
          <a:p>
            <a:pPr lvl="0"/>
            <a:r>
              <a:rPr lang="en-US" dirty="0"/>
              <a:t>DIVIDER</a:t>
            </a:r>
          </a:p>
          <a:p>
            <a:pPr lvl="0"/>
            <a:r>
              <a:rPr lang="en-US" dirty="0"/>
              <a:t>HEADING</a:t>
            </a:r>
          </a:p>
        </p:txBody>
      </p:sp>
    </p:spTree>
    <p:extLst>
      <p:ext uri="{BB962C8B-B14F-4D97-AF65-F5344CB8AC3E}">
        <p14:creationId xmlns:p14="http://schemas.microsoft.com/office/powerpoint/2010/main" val="3718732465"/>
      </p:ext>
    </p:extLst>
  </p:cSld>
  <p:clrMapOvr>
    <a:masterClrMapping/>
  </p:clrMapOvr>
  <p:extLst>
    <p:ext uri="{DCECCB84-F9BA-43D5-87BE-67443E8EF086}">
      <p15:sldGuideLst xmlns:p15="http://schemas.microsoft.com/office/powerpoint/2012/main">
        <p15:guide id="1" orient="horz" pos="3200">
          <p15:clr>
            <a:srgbClr val="FBAE40"/>
          </p15:clr>
        </p15:guide>
        <p15:guide id="2" pos="51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4C2985-4E75-83B7-822B-F915F530BB4F}"/>
              </a:ext>
            </a:extLst>
          </p:cNvPr>
          <p:cNvSpPr/>
          <p:nvPr userDrawn="1"/>
        </p:nvSpPr>
        <p:spPr>
          <a:xfrm>
            <a:off x="0" y="151619"/>
            <a:ext cx="12192000" cy="593236"/>
          </a:xfrm>
          <a:prstGeom prst="rect">
            <a:avLst/>
          </a:prstGeom>
          <a:solidFill>
            <a:srgbClr val="172C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5" dirty="0"/>
          </a:p>
        </p:txBody>
      </p:sp>
      <p:sp>
        <p:nvSpPr>
          <p:cNvPr id="10" name="Title 1"/>
          <p:cNvSpPr>
            <a:spLocks noGrp="1"/>
          </p:cNvSpPr>
          <p:nvPr>
            <p:ph type="title"/>
          </p:nvPr>
        </p:nvSpPr>
        <p:spPr>
          <a:xfrm>
            <a:off x="339091" y="264179"/>
            <a:ext cx="10438551" cy="481681"/>
          </a:xfrm>
          <a:prstGeom prst="rect">
            <a:avLst/>
          </a:prstGeom>
        </p:spPr>
        <p:txBody>
          <a:bodyPr/>
          <a:lstStyle>
            <a:lvl1pPr marL="0" algn="l" defTabSz="822940" rtl="0" eaLnBrk="1" latinLnBrk="0" hangingPunct="1">
              <a:defRPr lang="en-US" sz="2160" b="1" kern="1200">
                <a:solidFill>
                  <a:schemeClr val="bg1"/>
                </a:solidFill>
                <a:latin typeface="Century Gothic" charset="0"/>
                <a:ea typeface="Century Gothic" charset="0"/>
                <a:cs typeface="Century Gothic" charset="0"/>
              </a:defRPr>
            </a:lvl1pPr>
          </a:lstStyle>
          <a:p>
            <a:r>
              <a:rPr lang="en-US"/>
              <a:t>Click to edit Master title style</a:t>
            </a:r>
          </a:p>
        </p:txBody>
      </p:sp>
      <p:pic>
        <p:nvPicPr>
          <p:cNvPr id="5" name="Picture 7">
            <a:extLst>
              <a:ext uri="{FF2B5EF4-FFF2-40B4-BE49-F238E27FC236}">
                <a16:creationId xmlns:a16="http://schemas.microsoft.com/office/drawing/2014/main" id="{58F7D7D6-B9EE-FDF6-7FAF-C0F645B471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559655" y="6394561"/>
            <a:ext cx="363397" cy="251860"/>
          </a:xfrm>
          <a:prstGeom prst="rect">
            <a:avLst/>
          </a:prstGeom>
        </p:spPr>
      </p:pic>
      <p:sp>
        <p:nvSpPr>
          <p:cNvPr id="26" name="Oval 25">
            <a:extLst>
              <a:ext uri="{FF2B5EF4-FFF2-40B4-BE49-F238E27FC236}">
                <a16:creationId xmlns:a16="http://schemas.microsoft.com/office/drawing/2014/main" id="{B027F7EB-714F-5491-2AF0-3C9FC7B8BE18}"/>
              </a:ext>
            </a:extLst>
          </p:cNvPr>
          <p:cNvSpPr/>
          <p:nvPr userDrawn="1"/>
        </p:nvSpPr>
        <p:spPr>
          <a:xfrm>
            <a:off x="11193633" y="152521"/>
            <a:ext cx="612598" cy="612598"/>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5" dirty="0"/>
          </a:p>
        </p:txBody>
      </p:sp>
      <p:sp>
        <p:nvSpPr>
          <p:cNvPr id="27" name="TextBox 26">
            <a:extLst>
              <a:ext uri="{FF2B5EF4-FFF2-40B4-BE49-F238E27FC236}">
                <a16:creationId xmlns:a16="http://schemas.microsoft.com/office/drawing/2014/main" id="{77AD91AA-1815-524E-9F7C-ADDB15AD9213}"/>
              </a:ext>
            </a:extLst>
          </p:cNvPr>
          <p:cNvSpPr txBox="1"/>
          <p:nvPr userDrawn="1"/>
        </p:nvSpPr>
        <p:spPr>
          <a:xfrm>
            <a:off x="11209406" y="278960"/>
            <a:ext cx="602539" cy="313932"/>
          </a:xfrm>
          <a:prstGeom prst="rect">
            <a:avLst/>
          </a:prstGeom>
          <a:noFill/>
        </p:spPr>
        <p:txBody>
          <a:bodyPr wrap="square" rtlCol="0">
            <a:spAutoFit/>
          </a:bodyPr>
          <a:lstStyle/>
          <a:p>
            <a:pPr algn="ctr"/>
            <a:fld id="{48FD5EFF-1725-415C-94D6-8EEBD16210EC}" type="slidenum">
              <a:rPr lang="en-US" sz="1440" b="1" smtClean="0">
                <a:solidFill>
                  <a:srgbClr val="00A88E"/>
                </a:solidFill>
                <a:latin typeface="Century Gothic" charset="0"/>
                <a:ea typeface="Century Gothic" charset="0"/>
                <a:cs typeface="Century Gothic" charset="0"/>
              </a:rPr>
              <a:t>‹#›</a:t>
            </a:fld>
            <a:endParaRPr lang="en-US" sz="1440" b="1" dirty="0">
              <a:solidFill>
                <a:srgbClr val="00A88E"/>
              </a:solidFill>
              <a:latin typeface="Century Gothic" charset="0"/>
              <a:ea typeface="Century Gothic" charset="0"/>
              <a:cs typeface="Century Gothic" charset="0"/>
            </a:endParaRPr>
          </a:p>
        </p:txBody>
      </p:sp>
      <p:grpSp>
        <p:nvGrpSpPr>
          <p:cNvPr id="28" name="Group 27">
            <a:extLst>
              <a:ext uri="{FF2B5EF4-FFF2-40B4-BE49-F238E27FC236}">
                <a16:creationId xmlns:a16="http://schemas.microsoft.com/office/drawing/2014/main" id="{663CFBF9-076A-7471-B60A-6DA625DEC990}"/>
              </a:ext>
            </a:extLst>
          </p:cNvPr>
          <p:cNvGrpSpPr/>
          <p:nvPr userDrawn="1"/>
        </p:nvGrpSpPr>
        <p:grpSpPr>
          <a:xfrm>
            <a:off x="11068049" y="25580"/>
            <a:ext cx="866595" cy="866595"/>
            <a:chOff x="5999596" y="330534"/>
            <a:chExt cx="2250178" cy="2250178"/>
          </a:xfrm>
        </p:grpSpPr>
        <p:sp>
          <p:nvSpPr>
            <p:cNvPr id="29" name="Freeform 28">
              <a:extLst>
                <a:ext uri="{FF2B5EF4-FFF2-40B4-BE49-F238E27FC236}">
                  <a16:creationId xmlns:a16="http://schemas.microsoft.com/office/drawing/2014/main" id="{C961D866-CDB2-0E12-94EE-A33074C06D77}"/>
                </a:ext>
              </a:extLst>
            </p:cNvPr>
            <p:cNvSpPr/>
            <p:nvPr/>
          </p:nvSpPr>
          <p:spPr>
            <a:xfrm>
              <a:off x="7093309" y="530016"/>
              <a:ext cx="956983" cy="1851214"/>
            </a:xfrm>
            <a:custGeom>
              <a:avLst/>
              <a:gdLst>
                <a:gd name="connsiteX0" fmla="*/ 31376 w 956983"/>
                <a:gd name="connsiteY0" fmla="*/ 0 h 1851214"/>
                <a:gd name="connsiteX1" fmla="*/ 956983 w 956983"/>
                <a:gd name="connsiteY1" fmla="*/ 925607 h 1851214"/>
                <a:gd name="connsiteX2" fmla="*/ 31376 w 956983"/>
                <a:gd name="connsiteY2" fmla="*/ 1851214 h 1851214"/>
                <a:gd name="connsiteX3" fmla="*/ 0 w 956983"/>
                <a:gd name="connsiteY3" fmla="*/ 1849630 h 1851214"/>
                <a:gd name="connsiteX4" fmla="*/ 0 w 956983"/>
                <a:gd name="connsiteY4" fmla="*/ 1690506 h 1851214"/>
                <a:gd name="connsiteX5" fmla="*/ 31376 w 956983"/>
                <a:gd name="connsiteY5" fmla="*/ 1692090 h 1851214"/>
                <a:gd name="connsiteX6" fmla="*/ 797859 w 956983"/>
                <a:gd name="connsiteY6" fmla="*/ 925607 h 1851214"/>
                <a:gd name="connsiteX7" fmla="*/ 31376 w 956983"/>
                <a:gd name="connsiteY7" fmla="*/ 159124 h 1851214"/>
                <a:gd name="connsiteX8" fmla="*/ 0 w 956983"/>
                <a:gd name="connsiteY8" fmla="*/ 160708 h 1851214"/>
                <a:gd name="connsiteX9" fmla="*/ 0 w 956983"/>
                <a:gd name="connsiteY9" fmla="*/ 1584 h 1851214"/>
                <a:gd name="connsiteX10" fmla="*/ 31376 w 956983"/>
                <a:gd name="connsiteY10" fmla="*/ 0 h 185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983" h="1851214">
                  <a:moveTo>
                    <a:pt x="31376" y="0"/>
                  </a:moveTo>
                  <a:cubicBezTo>
                    <a:pt x="542575" y="0"/>
                    <a:pt x="956983" y="414408"/>
                    <a:pt x="956983" y="925607"/>
                  </a:cubicBezTo>
                  <a:cubicBezTo>
                    <a:pt x="956983" y="1436806"/>
                    <a:pt x="542575" y="1851214"/>
                    <a:pt x="31376" y="1851214"/>
                  </a:cubicBezTo>
                  <a:lnTo>
                    <a:pt x="0" y="1849630"/>
                  </a:lnTo>
                  <a:lnTo>
                    <a:pt x="0" y="1690506"/>
                  </a:lnTo>
                  <a:lnTo>
                    <a:pt x="31376" y="1692090"/>
                  </a:lnTo>
                  <a:cubicBezTo>
                    <a:pt x="454693" y="1692090"/>
                    <a:pt x="797859" y="1348924"/>
                    <a:pt x="797859" y="925607"/>
                  </a:cubicBezTo>
                  <a:cubicBezTo>
                    <a:pt x="797859" y="502290"/>
                    <a:pt x="454693" y="159124"/>
                    <a:pt x="31376" y="159124"/>
                  </a:cubicBezTo>
                  <a:lnTo>
                    <a:pt x="0" y="160708"/>
                  </a:lnTo>
                  <a:lnTo>
                    <a:pt x="0" y="1584"/>
                  </a:lnTo>
                  <a:lnTo>
                    <a:pt x="31376" y="0"/>
                  </a:lnTo>
                  <a:close/>
                </a:path>
              </a:pathLst>
            </a:custGeom>
            <a:gradFill>
              <a:gsLst>
                <a:gs pos="91000">
                  <a:schemeClr val="accent2">
                    <a:alpha val="25000"/>
                  </a:schemeClr>
                </a:gs>
                <a:gs pos="0">
                  <a:schemeClr val="accent2">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15" dirty="0"/>
            </a:p>
          </p:txBody>
        </p:sp>
        <p:sp>
          <p:nvSpPr>
            <p:cNvPr id="30" name="Freeform 29">
              <a:extLst>
                <a:ext uri="{FF2B5EF4-FFF2-40B4-BE49-F238E27FC236}">
                  <a16:creationId xmlns:a16="http://schemas.microsoft.com/office/drawing/2014/main" id="{5B7DEDAB-0321-9C79-5FA7-F5C2CA80B56E}"/>
                </a:ext>
              </a:extLst>
            </p:cNvPr>
            <p:cNvSpPr/>
            <p:nvPr/>
          </p:nvSpPr>
          <p:spPr>
            <a:xfrm>
              <a:off x="6199078" y="531600"/>
              <a:ext cx="894231" cy="1848046"/>
            </a:xfrm>
            <a:custGeom>
              <a:avLst/>
              <a:gdLst>
                <a:gd name="connsiteX0" fmla="*/ 894231 w 894231"/>
                <a:gd name="connsiteY0" fmla="*/ 0 h 1848046"/>
                <a:gd name="connsiteX1" fmla="*/ 894231 w 894231"/>
                <a:gd name="connsiteY1" fmla="*/ 159124 h 1848046"/>
                <a:gd name="connsiteX2" fmla="*/ 847239 w 894231"/>
                <a:gd name="connsiteY2" fmla="*/ 161497 h 1848046"/>
                <a:gd name="connsiteX3" fmla="*/ 159124 w 894231"/>
                <a:gd name="connsiteY3" fmla="*/ 924023 h 1848046"/>
                <a:gd name="connsiteX4" fmla="*/ 847239 w 894231"/>
                <a:gd name="connsiteY4" fmla="*/ 1686549 h 1848046"/>
                <a:gd name="connsiteX5" fmla="*/ 894231 w 894231"/>
                <a:gd name="connsiteY5" fmla="*/ 1688922 h 1848046"/>
                <a:gd name="connsiteX6" fmla="*/ 894231 w 894231"/>
                <a:gd name="connsiteY6" fmla="*/ 1848046 h 1848046"/>
                <a:gd name="connsiteX7" fmla="*/ 830969 w 894231"/>
                <a:gd name="connsiteY7" fmla="*/ 1844851 h 1848046"/>
                <a:gd name="connsiteX8" fmla="*/ 0 w 894231"/>
                <a:gd name="connsiteY8" fmla="*/ 924023 h 1848046"/>
                <a:gd name="connsiteX9" fmla="*/ 830969 w 894231"/>
                <a:gd name="connsiteY9" fmla="*/ 3195 h 1848046"/>
                <a:gd name="connsiteX10" fmla="*/ 894231 w 894231"/>
                <a:gd name="connsiteY10" fmla="*/ 0 h 184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231" h="1848046">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15" dirty="0"/>
            </a:p>
          </p:txBody>
        </p:sp>
        <p:sp>
          <p:nvSpPr>
            <p:cNvPr id="31" name="Freeform 30">
              <a:extLst>
                <a:ext uri="{FF2B5EF4-FFF2-40B4-BE49-F238E27FC236}">
                  <a16:creationId xmlns:a16="http://schemas.microsoft.com/office/drawing/2014/main" id="{A3554393-8F62-8C68-69EA-E3DC8B0643FD}"/>
                </a:ext>
              </a:extLst>
            </p:cNvPr>
            <p:cNvSpPr/>
            <p:nvPr/>
          </p:nvSpPr>
          <p:spPr>
            <a:xfrm>
              <a:off x="7093309" y="330534"/>
              <a:ext cx="1156465" cy="2250178"/>
            </a:xfrm>
            <a:custGeom>
              <a:avLst/>
              <a:gdLst>
                <a:gd name="connsiteX0" fmla="*/ 31376 w 1156465"/>
                <a:gd name="connsiteY0" fmla="*/ 0 h 2250178"/>
                <a:gd name="connsiteX1" fmla="*/ 1156465 w 1156465"/>
                <a:gd name="connsiteY1" fmla="*/ 1125089 h 2250178"/>
                <a:gd name="connsiteX2" fmla="*/ 31376 w 1156465"/>
                <a:gd name="connsiteY2" fmla="*/ 2250178 h 2250178"/>
                <a:gd name="connsiteX3" fmla="*/ 0 w 1156465"/>
                <a:gd name="connsiteY3" fmla="*/ 2248594 h 2250178"/>
                <a:gd name="connsiteX4" fmla="*/ 0 w 1156465"/>
                <a:gd name="connsiteY4" fmla="*/ 2049112 h 2250178"/>
                <a:gd name="connsiteX5" fmla="*/ 31376 w 1156465"/>
                <a:gd name="connsiteY5" fmla="*/ 2050696 h 2250178"/>
                <a:gd name="connsiteX6" fmla="*/ 956983 w 1156465"/>
                <a:gd name="connsiteY6" fmla="*/ 1125089 h 2250178"/>
                <a:gd name="connsiteX7" fmla="*/ 31376 w 1156465"/>
                <a:gd name="connsiteY7" fmla="*/ 199482 h 2250178"/>
                <a:gd name="connsiteX8" fmla="*/ 0 w 1156465"/>
                <a:gd name="connsiteY8" fmla="*/ 201066 h 2250178"/>
                <a:gd name="connsiteX9" fmla="*/ 0 w 1156465"/>
                <a:gd name="connsiteY9" fmla="*/ 1584 h 2250178"/>
                <a:gd name="connsiteX10" fmla="*/ 31376 w 1156465"/>
                <a:gd name="connsiteY10" fmla="*/ 0 h 22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65" h="2250178">
                  <a:moveTo>
                    <a:pt x="31376" y="0"/>
                  </a:moveTo>
                  <a:cubicBezTo>
                    <a:pt x="652745" y="0"/>
                    <a:pt x="1156465" y="503720"/>
                    <a:pt x="1156465" y="1125089"/>
                  </a:cubicBezTo>
                  <a:cubicBezTo>
                    <a:pt x="1156465" y="1746458"/>
                    <a:pt x="652745" y="2250178"/>
                    <a:pt x="31376" y="2250178"/>
                  </a:cubicBezTo>
                  <a:lnTo>
                    <a:pt x="0" y="2248594"/>
                  </a:lnTo>
                  <a:lnTo>
                    <a:pt x="0" y="2049112"/>
                  </a:lnTo>
                  <a:lnTo>
                    <a:pt x="31376" y="2050696"/>
                  </a:lnTo>
                  <a:cubicBezTo>
                    <a:pt x="542575" y="2050696"/>
                    <a:pt x="956983" y="1636288"/>
                    <a:pt x="956983" y="1125089"/>
                  </a:cubicBezTo>
                  <a:cubicBezTo>
                    <a:pt x="956983" y="613890"/>
                    <a:pt x="542575" y="199482"/>
                    <a:pt x="31376" y="199482"/>
                  </a:cubicBezTo>
                  <a:lnTo>
                    <a:pt x="0" y="201066"/>
                  </a:lnTo>
                  <a:lnTo>
                    <a:pt x="0" y="1584"/>
                  </a:lnTo>
                  <a:lnTo>
                    <a:pt x="31376" y="0"/>
                  </a:lnTo>
                  <a:close/>
                </a:path>
              </a:pathLst>
            </a:custGeom>
            <a:gradFill>
              <a:gsLst>
                <a:gs pos="100000">
                  <a:schemeClr val="accent1">
                    <a:lumMod val="5000"/>
                    <a:lumOff val="95000"/>
                    <a:alpha val="13000"/>
                  </a:schemeClr>
                </a:gs>
                <a:gs pos="0">
                  <a:schemeClr val="accent2">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15" dirty="0"/>
            </a:p>
          </p:txBody>
        </p:sp>
        <p:sp>
          <p:nvSpPr>
            <p:cNvPr id="32" name="Freeform 31">
              <a:extLst>
                <a:ext uri="{FF2B5EF4-FFF2-40B4-BE49-F238E27FC236}">
                  <a16:creationId xmlns:a16="http://schemas.microsoft.com/office/drawing/2014/main" id="{5BC842C1-1787-288B-1AD1-C39707825A7C}"/>
                </a:ext>
              </a:extLst>
            </p:cNvPr>
            <p:cNvSpPr/>
            <p:nvPr/>
          </p:nvSpPr>
          <p:spPr>
            <a:xfrm>
              <a:off x="5999596" y="332118"/>
              <a:ext cx="1093713" cy="2247010"/>
            </a:xfrm>
            <a:custGeom>
              <a:avLst/>
              <a:gdLst>
                <a:gd name="connsiteX0" fmla="*/ 1093713 w 1093713"/>
                <a:gd name="connsiteY0" fmla="*/ 0 h 2247010"/>
                <a:gd name="connsiteX1" fmla="*/ 1093713 w 1093713"/>
                <a:gd name="connsiteY1" fmla="*/ 199482 h 2247010"/>
                <a:gd name="connsiteX2" fmla="*/ 1030451 w 1093713"/>
                <a:gd name="connsiteY2" fmla="*/ 202677 h 2247010"/>
                <a:gd name="connsiteX3" fmla="*/ 199482 w 1093713"/>
                <a:gd name="connsiteY3" fmla="*/ 1123505 h 2247010"/>
                <a:gd name="connsiteX4" fmla="*/ 1030451 w 1093713"/>
                <a:gd name="connsiteY4" fmla="*/ 2044333 h 2247010"/>
                <a:gd name="connsiteX5" fmla="*/ 1093713 w 1093713"/>
                <a:gd name="connsiteY5" fmla="*/ 2047528 h 2247010"/>
                <a:gd name="connsiteX6" fmla="*/ 1093713 w 1093713"/>
                <a:gd name="connsiteY6" fmla="*/ 2247010 h 2247010"/>
                <a:gd name="connsiteX7" fmla="*/ 1010055 w 1093713"/>
                <a:gd name="connsiteY7" fmla="*/ 2242785 h 2247010"/>
                <a:gd name="connsiteX8" fmla="*/ 0 w 1093713"/>
                <a:gd name="connsiteY8" fmla="*/ 1123505 h 2247010"/>
                <a:gd name="connsiteX9" fmla="*/ 1010055 w 1093713"/>
                <a:gd name="connsiteY9" fmla="*/ 4225 h 2247010"/>
                <a:gd name="connsiteX10" fmla="*/ 1093713 w 1093713"/>
                <a:gd name="connsiteY10" fmla="*/ 0 h 224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713" h="2247010">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15" dirty="0"/>
            </a:p>
          </p:txBody>
        </p:sp>
      </p:grpSp>
    </p:spTree>
    <p:extLst>
      <p:ext uri="{BB962C8B-B14F-4D97-AF65-F5344CB8AC3E}">
        <p14:creationId xmlns:p14="http://schemas.microsoft.com/office/powerpoint/2010/main" val="3298845369"/>
      </p:ext>
    </p:extLst>
  </p:cSld>
  <p:clrMapOvr>
    <a:masterClrMapping/>
  </p:clrMapOvr>
  <p:hf hdr="0" ftr="0" dt="0"/>
  <p:extLst>
    <p:ext uri="{DCECCB84-F9BA-43D5-87BE-67443E8EF086}">
      <p15:sldGuideLst xmlns:p15="http://schemas.microsoft.com/office/powerpoint/2012/main">
        <p15:guide id="1" orient="horz" pos="164">
          <p15:clr>
            <a:srgbClr val="FBAE40"/>
          </p15:clr>
        </p15:guide>
        <p15:guide id="2" pos="21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ontents slide layout">
    <p:bg>
      <p:bgPr>
        <a:solidFill>
          <a:schemeClr val="bg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30" y="339510"/>
            <a:ext cx="11573197" cy="724247"/>
          </a:xfrm>
          <a:prstGeom prst="rect">
            <a:avLst/>
          </a:prstGeom>
        </p:spPr>
        <p:txBody>
          <a:bodyPr tIns="91440" anchor="ctr"/>
          <a:lstStyle>
            <a:lvl1pPr marL="0" indent="0" algn="ctr">
              <a:buNone/>
              <a:defRPr sz="5399" b="0" baseline="0">
                <a:solidFill>
                  <a:schemeClr val="tx1"/>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3907995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685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605" y="430222"/>
            <a:ext cx="11023600" cy="615308"/>
          </a:xfrm>
          <a:prstGeom prst="rect">
            <a:avLst/>
          </a:prstGeom>
        </p:spPr>
      </p:pic>
      <p:sp>
        <p:nvSpPr>
          <p:cNvPr id="10" name="Title 1"/>
          <p:cNvSpPr>
            <a:spLocks noGrp="1"/>
          </p:cNvSpPr>
          <p:nvPr>
            <p:ph type="title"/>
          </p:nvPr>
        </p:nvSpPr>
        <p:spPr>
          <a:xfrm>
            <a:off x="976214" y="523929"/>
            <a:ext cx="10433556" cy="427894"/>
          </a:xfrm>
          <a:prstGeom prst="rect">
            <a:avLst/>
          </a:prstGeom>
        </p:spPr>
        <p:txBody>
          <a:bodyPr/>
          <a:lstStyle>
            <a:lvl1pPr marL="0" algn="l" defTabSz="914400" rtl="0" eaLnBrk="1" latinLnBrk="0" hangingPunct="1">
              <a:defRPr lang="en-US" sz="2400" b="1" kern="1200">
                <a:solidFill>
                  <a:schemeClr val="bg1"/>
                </a:solidFill>
                <a:latin typeface="Century Gothic" charset="0"/>
                <a:ea typeface="Century Gothic" charset="0"/>
                <a:cs typeface="Century Gothic" charset="0"/>
              </a:defRPr>
            </a:lvl1pPr>
          </a:lstStyle>
          <a:p>
            <a:r>
              <a:rPr lang="en-US" dirty="0"/>
              <a:t>Click to edit Master title style</a:t>
            </a:r>
          </a:p>
        </p:txBody>
      </p:sp>
      <p:pic>
        <p:nvPicPr>
          <p:cNvPr id="11" name="Picture 10"/>
          <p:cNvPicPr>
            <a:picLocks noChangeAspect="1"/>
          </p:cNvPicPr>
          <p:nvPr userDrawn="1"/>
        </p:nvPicPr>
        <p:blipFill>
          <a:blip r:embed="rId3"/>
          <a:stretch>
            <a:fillRect/>
          </a:stretch>
        </p:blipFill>
        <p:spPr>
          <a:xfrm>
            <a:off x="610605" y="6298747"/>
            <a:ext cx="11023600" cy="368300"/>
          </a:xfrm>
          <a:prstGeom prst="rect">
            <a:avLst/>
          </a:prstGeom>
        </p:spPr>
      </p:pic>
      <p:sp>
        <p:nvSpPr>
          <p:cNvPr id="2" name="TextBox 1"/>
          <p:cNvSpPr txBox="1"/>
          <p:nvPr userDrawn="1"/>
        </p:nvSpPr>
        <p:spPr>
          <a:xfrm>
            <a:off x="10584383" y="6392708"/>
            <a:ext cx="380326" cy="276999"/>
          </a:xfrm>
          <a:prstGeom prst="rect">
            <a:avLst/>
          </a:prstGeom>
          <a:noFill/>
        </p:spPr>
        <p:txBody>
          <a:bodyPr wrap="square" rtlCol="0">
            <a:spAutoFit/>
          </a:bodyPr>
          <a:lstStyle/>
          <a:p>
            <a:pPr algn="ctr"/>
            <a:fld id="{E6D6A0C0-CE57-0C49-8BA9-382050109D93}" type="slidenum">
              <a:rPr lang="en-US" sz="1200" smtClean="0">
                <a:solidFill>
                  <a:srgbClr val="AA998B"/>
                </a:solidFill>
                <a:latin typeface="Century Gothic" charset="0"/>
                <a:ea typeface="Century Gothic" charset="0"/>
                <a:cs typeface="Century Gothic" charset="0"/>
              </a:rPr>
              <a:pPr algn="ctr"/>
              <a:t>‹#›</a:t>
            </a:fld>
            <a:endParaRPr lang="en-US" sz="1200" dirty="0">
              <a:solidFill>
                <a:srgbClr val="AA998B"/>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1653851071"/>
      </p:ext>
    </p:extLst>
  </p:cSld>
  <p:clrMapOvr>
    <a:masterClrMapping/>
  </p:clrMapOvr>
</p:sldLayout>
</file>

<file path=ppt/slideLayouts/slideLayout7.xml><?xml version="1.0" encoding="utf-8"?>
<p:sldLayout xmlns:p="http://schemas.openxmlformats.org/presentationml/2006/main" xmlns:a="http://schemas.openxmlformats.org/drawingml/2006/main" xmlns:r="http://schemas.openxmlformats.org/officeDocument/2006/relationships" userDrawn="1">
  <p:cSld name="2_Title Slide">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b="185" r="-2"/>
          <a:stretch>
            <a:fillRect/>
          </a:stretch>
        </p:blipFill>
        <p:spPr bwMode="auto">
          <a:xfrm>
            <a:off x="1259418" y="6711950"/>
            <a:ext cx="9673167"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43733" y="6356350"/>
            <a:ext cx="948267"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6"/>
          <p:cNvSpPr>
            <a:spLocks noGrp="1"/>
          </p:cNvSpPr>
          <p:nvPr>
            <p:ph type="title"/>
          </p:nvPr>
        </p:nvSpPr>
        <p:spPr>
          <a:xfrm>
            <a:off x="838200" y="365127"/>
            <a:ext cx="10515600" cy="543218"/>
          </a:xfrm>
          <a:prstGeom prst="rect">
            <a:avLst/>
          </a:prstGeom>
        </p:spPr>
        <p:txBody>
          <a:bodyPr/>
          <a:lstStyle>
            <a:lvl1pPr>
              <a:defRPr baseline="0" cap="small" sz="2800">
                <a:solidFill>
                  <a:srgbClr val="04987A"/>
                </a:solidFill>
                <a:latin charset="0" typeface="Century Gothic Bold"/>
              </a:defRPr>
            </a:lvl1pPr>
          </a:lstStyle>
          <a:p>
            <a:r>
              <a:rPr dirty="0" lang="en-US"/>
              <a:t>Click to edit Master title style</a:t>
            </a:r>
          </a:p>
        </p:txBody>
      </p:sp>
      <p:sp>
        <p:nvSpPr>
          <p:cNvPr id="5" name="Slide Number Placeholder 5"/>
          <p:cNvSpPr>
            <a:spLocks noGrp="1"/>
          </p:cNvSpPr>
          <p:nvPr>
            <p:ph idx="10" sz="quarter" type="sldNum"/>
          </p:nvPr>
        </p:nvSpPr>
        <p:spPr>
          <a:xfrm>
            <a:off x="249767" y="6529389"/>
            <a:ext cx="588433" cy="365125"/>
          </a:xfrm>
        </p:spPr>
        <p:txBody>
          <a:bodyPr/>
          <a:lstStyle>
            <a:lvl1pPr>
              <a:defRPr/>
            </a:lvl1pPr>
          </a:lstStyle>
          <a:p>
            <a:pPr>
              <a:defRPr/>
            </a:pPr>
            <a:fld id="{EF17A8A9-4466-47ED-8DFF-9415902C6C29}" type="slidenum">
              <a:rPr altLang="en-US" lang="en-US"/>
              <a:pPr>
                <a:defRPr/>
              </a:pPr>
              <a:t>‹#›</a:t>
            </a:fld>
            <a:endParaRPr altLang="en-US" dirty="0" lang="en-US"/>
          </a:p>
        </p:txBody>
      </p:sp>
    </p:spTree>
    <p:extLst>
      <p:ext uri="{BB962C8B-B14F-4D97-AF65-F5344CB8AC3E}">
        <p14:creationId xmlns:p14="http://schemas.microsoft.com/office/powerpoint/2010/main" val="14431355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AC1F68-F6B4-6DBE-B3BE-30FECAE43D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8"/>
          <a:stretch/>
        </p:blipFill>
        <p:spPr>
          <a:xfrm>
            <a:off x="0" y="-7348"/>
            <a:ext cx="12205062" cy="6865348"/>
          </a:xfrm>
          <a:prstGeom prst="rect">
            <a:avLst/>
          </a:prstGeom>
        </p:spPr>
      </p:pic>
      <p:sp>
        <p:nvSpPr>
          <p:cNvPr id="3" name="Title 1">
            <a:extLst>
              <a:ext uri="{FF2B5EF4-FFF2-40B4-BE49-F238E27FC236}">
                <a16:creationId xmlns:a16="http://schemas.microsoft.com/office/drawing/2014/main" id="{9A55D349-F51A-48DD-6816-F492818D3190}"/>
              </a:ext>
            </a:extLst>
          </p:cNvPr>
          <p:cNvSpPr>
            <a:spLocks noGrp="1"/>
          </p:cNvSpPr>
          <p:nvPr>
            <p:ph type="title" hasCustomPrompt="1"/>
          </p:nvPr>
        </p:nvSpPr>
        <p:spPr>
          <a:xfrm>
            <a:off x="1090423" y="2520485"/>
            <a:ext cx="10373990" cy="403618"/>
          </a:xfrm>
          <a:prstGeom prst="rect">
            <a:avLst/>
          </a:prstGeom>
          <a:ln>
            <a:noFill/>
          </a:ln>
        </p:spPr>
        <p:txBody>
          <a:bodyPr/>
          <a:lstStyle>
            <a:lvl1pPr marL="0" algn="r" defTabSz="914400" rtl="0" eaLnBrk="1" latinLnBrk="0" hangingPunct="1">
              <a:lnSpc>
                <a:spcPct val="90000"/>
              </a:lnSpc>
              <a:spcBef>
                <a:spcPct val="0"/>
              </a:spcBef>
              <a:buNone/>
              <a:defRPr lang="en-US" sz="3200" b="1" kern="1200" dirty="0">
                <a:solidFill>
                  <a:schemeClr val="bg1"/>
                </a:solidFill>
                <a:latin typeface="Century Gothic" charset="0"/>
                <a:ea typeface="Century Gothic" charset="0"/>
                <a:cs typeface="Century Gothic" charset="0"/>
              </a:defRPr>
            </a:lvl1pPr>
          </a:lstStyle>
          <a:p>
            <a:r>
              <a:rPr lang="en-US" dirty="0"/>
              <a:t>Click to edit Master title style</a:t>
            </a:r>
            <a:br>
              <a:rPr lang="en-US" dirty="0"/>
            </a:br>
            <a:endParaRPr lang="en-US" dirty="0"/>
          </a:p>
        </p:txBody>
      </p:sp>
      <p:grpSp>
        <p:nvGrpSpPr>
          <p:cNvPr id="6" name="Group 5">
            <a:extLst>
              <a:ext uri="{FF2B5EF4-FFF2-40B4-BE49-F238E27FC236}">
                <a16:creationId xmlns:a16="http://schemas.microsoft.com/office/drawing/2014/main" id="{AB46CE6F-32E2-F440-5A21-6EF127AF21E1}"/>
              </a:ext>
            </a:extLst>
          </p:cNvPr>
          <p:cNvGrpSpPr/>
          <p:nvPr userDrawn="1"/>
        </p:nvGrpSpPr>
        <p:grpSpPr>
          <a:xfrm>
            <a:off x="9699812" y="5342840"/>
            <a:ext cx="1764601" cy="1057959"/>
            <a:chOff x="8855996" y="4902858"/>
            <a:chExt cx="2872808" cy="1497942"/>
          </a:xfrm>
        </p:grpSpPr>
        <p:pic>
          <p:nvPicPr>
            <p:cNvPr id="7" name="bg object 20">
              <a:extLst>
                <a:ext uri="{FF2B5EF4-FFF2-40B4-BE49-F238E27FC236}">
                  <a16:creationId xmlns:a16="http://schemas.microsoft.com/office/drawing/2014/main" id="{C78B5B08-0FF6-70DE-7C03-0EC79EE0584E}"/>
                </a:ext>
              </a:extLst>
            </p:cNvPr>
            <p:cNvPicPr/>
            <p:nvPr/>
          </p:nvPicPr>
          <p:blipFill>
            <a:blip r:embed="rId3" cstate="screen">
              <a:extLst>
                <a:ext uri="{28A0092B-C50C-407E-A947-70E740481C1C}">
                  <a14:useLocalDpi xmlns:a14="http://schemas.microsoft.com/office/drawing/2010/main"/>
                </a:ext>
              </a:extLst>
            </a:blip>
            <a:stretch>
              <a:fillRect/>
            </a:stretch>
          </p:blipFill>
          <p:spPr>
            <a:xfrm>
              <a:off x="8855996" y="6102647"/>
              <a:ext cx="120408" cy="81457"/>
            </a:xfrm>
            <a:prstGeom prst="rect">
              <a:avLst/>
            </a:prstGeom>
          </p:spPr>
        </p:pic>
        <p:pic>
          <p:nvPicPr>
            <p:cNvPr id="8" name="bg object 21">
              <a:extLst>
                <a:ext uri="{FF2B5EF4-FFF2-40B4-BE49-F238E27FC236}">
                  <a16:creationId xmlns:a16="http://schemas.microsoft.com/office/drawing/2014/main" id="{EEA7C8BF-46F8-2D96-F4DE-C6259FB9E701}"/>
                </a:ext>
              </a:extLst>
            </p:cNvPr>
            <p:cNvPicPr/>
            <p:nvPr/>
          </p:nvPicPr>
          <p:blipFill>
            <a:blip r:embed="rId4" cstate="screen">
              <a:extLst>
                <a:ext uri="{28A0092B-C50C-407E-A947-70E740481C1C}">
                  <a14:useLocalDpi xmlns:a14="http://schemas.microsoft.com/office/drawing/2010/main"/>
                </a:ext>
              </a:extLst>
            </a:blip>
            <a:stretch>
              <a:fillRect/>
            </a:stretch>
          </p:blipFill>
          <p:spPr>
            <a:xfrm>
              <a:off x="9298849" y="6104763"/>
              <a:ext cx="99580" cy="79349"/>
            </a:xfrm>
            <a:prstGeom prst="rect">
              <a:avLst/>
            </a:prstGeom>
          </p:spPr>
        </p:pic>
        <p:pic>
          <p:nvPicPr>
            <p:cNvPr id="9" name="bg object 22">
              <a:extLst>
                <a:ext uri="{FF2B5EF4-FFF2-40B4-BE49-F238E27FC236}">
                  <a16:creationId xmlns:a16="http://schemas.microsoft.com/office/drawing/2014/main" id="{A5D7819F-2608-A76E-F2C3-B5632DBD6C34}"/>
                </a:ext>
              </a:extLst>
            </p:cNvPr>
            <p:cNvPicPr/>
            <p:nvPr/>
          </p:nvPicPr>
          <p:blipFill>
            <a:blip r:embed="rId5" cstate="screen">
              <a:extLst>
                <a:ext uri="{28A0092B-C50C-407E-A947-70E740481C1C}">
                  <a14:useLocalDpi xmlns:a14="http://schemas.microsoft.com/office/drawing/2010/main"/>
                </a:ext>
              </a:extLst>
            </a:blip>
            <a:stretch>
              <a:fillRect/>
            </a:stretch>
          </p:blipFill>
          <p:spPr>
            <a:xfrm>
              <a:off x="9083585" y="6104735"/>
              <a:ext cx="97193" cy="81432"/>
            </a:xfrm>
            <a:prstGeom prst="rect">
              <a:avLst/>
            </a:prstGeom>
          </p:spPr>
        </p:pic>
        <p:sp>
          <p:nvSpPr>
            <p:cNvPr id="10" name="bg object 23">
              <a:extLst>
                <a:ext uri="{FF2B5EF4-FFF2-40B4-BE49-F238E27FC236}">
                  <a16:creationId xmlns:a16="http://schemas.microsoft.com/office/drawing/2014/main" id="{02010778-DE75-C23D-BA29-6C80750C0CCF}"/>
                </a:ext>
              </a:extLst>
            </p:cNvPr>
            <p:cNvSpPr/>
            <p:nvPr/>
          </p:nvSpPr>
          <p:spPr>
            <a:xfrm>
              <a:off x="9511058" y="6104756"/>
              <a:ext cx="26034" cy="80010"/>
            </a:xfrm>
            <a:custGeom>
              <a:avLst/>
              <a:gdLst/>
              <a:ahLst/>
              <a:cxnLst/>
              <a:rect l="l" t="t" r="r" b="b"/>
              <a:pathLst>
                <a:path w="26034" h="80010">
                  <a:moveTo>
                    <a:pt x="25476" y="0"/>
                  </a:moveTo>
                  <a:lnTo>
                    <a:pt x="0" y="0"/>
                  </a:lnTo>
                  <a:lnTo>
                    <a:pt x="0" y="79362"/>
                  </a:lnTo>
                  <a:lnTo>
                    <a:pt x="25476" y="79413"/>
                  </a:lnTo>
                  <a:lnTo>
                    <a:pt x="25476" y="0"/>
                  </a:lnTo>
                  <a:close/>
                </a:path>
              </a:pathLst>
            </a:custGeom>
            <a:solidFill>
              <a:srgbClr val="002E6E"/>
            </a:solidFill>
          </p:spPr>
          <p:txBody>
            <a:bodyPr wrap="square" lIns="0" tIns="0" rIns="0" bIns="0" rtlCol="0"/>
            <a:lstStyle/>
            <a:p>
              <a:endParaRPr dirty="0"/>
            </a:p>
          </p:txBody>
        </p:sp>
        <p:pic>
          <p:nvPicPr>
            <p:cNvPr id="11" name="bg object 24">
              <a:extLst>
                <a:ext uri="{FF2B5EF4-FFF2-40B4-BE49-F238E27FC236}">
                  <a16:creationId xmlns:a16="http://schemas.microsoft.com/office/drawing/2014/main" id="{C1EEA88F-4902-E5B6-37DF-B4005178607E}"/>
                </a:ext>
              </a:extLst>
            </p:cNvPr>
            <p:cNvPicPr/>
            <p:nvPr/>
          </p:nvPicPr>
          <p:blipFill>
            <a:blip r:embed="rId6" cstate="screen">
              <a:extLst>
                <a:ext uri="{28A0092B-C50C-407E-A947-70E740481C1C}">
                  <a14:useLocalDpi xmlns:a14="http://schemas.microsoft.com/office/drawing/2010/main"/>
                </a:ext>
              </a:extLst>
            </a:blip>
            <a:stretch>
              <a:fillRect/>
            </a:stretch>
          </p:blipFill>
          <p:spPr>
            <a:xfrm>
              <a:off x="9645811" y="6104788"/>
              <a:ext cx="78270" cy="79362"/>
            </a:xfrm>
            <a:prstGeom prst="rect">
              <a:avLst/>
            </a:prstGeom>
          </p:spPr>
        </p:pic>
        <p:pic>
          <p:nvPicPr>
            <p:cNvPr id="12" name="bg object 25">
              <a:extLst>
                <a:ext uri="{FF2B5EF4-FFF2-40B4-BE49-F238E27FC236}">
                  <a16:creationId xmlns:a16="http://schemas.microsoft.com/office/drawing/2014/main" id="{A8BC3F9F-F283-04DB-F07C-B055E7FCABC0}"/>
                </a:ext>
              </a:extLst>
            </p:cNvPr>
            <p:cNvPicPr/>
            <p:nvPr/>
          </p:nvPicPr>
          <p:blipFill>
            <a:blip r:embed="rId7" cstate="screen">
              <a:extLst>
                <a:ext uri="{28A0092B-C50C-407E-A947-70E740481C1C}">
                  <a14:useLocalDpi xmlns:a14="http://schemas.microsoft.com/office/drawing/2010/main"/>
                </a:ext>
              </a:extLst>
            </a:blip>
            <a:stretch>
              <a:fillRect/>
            </a:stretch>
          </p:blipFill>
          <p:spPr>
            <a:xfrm>
              <a:off x="9827255" y="6102720"/>
              <a:ext cx="129451" cy="83553"/>
            </a:xfrm>
            <a:prstGeom prst="rect">
              <a:avLst/>
            </a:prstGeom>
          </p:spPr>
        </p:pic>
        <p:pic>
          <p:nvPicPr>
            <p:cNvPr id="13" name="bg object 26">
              <a:extLst>
                <a:ext uri="{FF2B5EF4-FFF2-40B4-BE49-F238E27FC236}">
                  <a16:creationId xmlns:a16="http://schemas.microsoft.com/office/drawing/2014/main" id="{4BF4FE68-C323-8D6A-CE18-08A9A34362DD}"/>
                </a:ext>
              </a:extLst>
            </p:cNvPr>
            <p:cNvPicPr/>
            <p:nvPr/>
          </p:nvPicPr>
          <p:blipFill>
            <a:blip r:embed="rId8" cstate="screen">
              <a:extLst>
                <a:ext uri="{28A0092B-C50C-407E-A947-70E740481C1C}">
                  <a14:useLocalDpi xmlns:a14="http://schemas.microsoft.com/office/drawing/2010/main"/>
                </a:ext>
              </a:extLst>
            </a:blip>
            <a:stretch>
              <a:fillRect/>
            </a:stretch>
          </p:blipFill>
          <p:spPr>
            <a:xfrm>
              <a:off x="10069293" y="6104802"/>
              <a:ext cx="88468" cy="79387"/>
            </a:xfrm>
            <a:prstGeom prst="rect">
              <a:avLst/>
            </a:prstGeom>
          </p:spPr>
        </p:pic>
        <p:sp>
          <p:nvSpPr>
            <p:cNvPr id="14" name="bg object 27">
              <a:extLst>
                <a:ext uri="{FF2B5EF4-FFF2-40B4-BE49-F238E27FC236}">
                  <a16:creationId xmlns:a16="http://schemas.microsoft.com/office/drawing/2014/main" id="{C0A8D01E-27FB-5512-A65D-EF3A7DC3FE93}"/>
                </a:ext>
              </a:extLst>
            </p:cNvPr>
            <p:cNvSpPr/>
            <p:nvPr/>
          </p:nvSpPr>
          <p:spPr>
            <a:xfrm>
              <a:off x="10264241" y="6144386"/>
              <a:ext cx="42545" cy="12700"/>
            </a:xfrm>
            <a:custGeom>
              <a:avLst/>
              <a:gdLst/>
              <a:ahLst/>
              <a:cxnLst/>
              <a:rect l="l" t="t" r="r" b="b"/>
              <a:pathLst>
                <a:path w="42545" h="12700">
                  <a:moveTo>
                    <a:pt x="42367" y="0"/>
                  </a:moveTo>
                  <a:lnTo>
                    <a:pt x="0" y="0"/>
                  </a:lnTo>
                  <a:lnTo>
                    <a:pt x="0" y="12128"/>
                  </a:lnTo>
                  <a:lnTo>
                    <a:pt x="42367" y="12128"/>
                  </a:lnTo>
                  <a:lnTo>
                    <a:pt x="42367" y="0"/>
                  </a:lnTo>
                  <a:close/>
                </a:path>
              </a:pathLst>
            </a:custGeom>
            <a:solidFill>
              <a:srgbClr val="002E6E"/>
            </a:solidFill>
          </p:spPr>
          <p:txBody>
            <a:bodyPr wrap="square" lIns="0" tIns="0" rIns="0" bIns="0" rtlCol="0"/>
            <a:lstStyle/>
            <a:p>
              <a:endParaRPr dirty="0"/>
            </a:p>
          </p:txBody>
        </p:sp>
        <p:pic>
          <p:nvPicPr>
            <p:cNvPr id="15" name="bg object 28">
              <a:extLst>
                <a:ext uri="{FF2B5EF4-FFF2-40B4-BE49-F238E27FC236}">
                  <a16:creationId xmlns:a16="http://schemas.microsoft.com/office/drawing/2014/main" id="{4D1B07F4-4D21-9838-2D0D-69672EA4F808}"/>
                </a:ext>
              </a:extLst>
            </p:cNvPr>
            <p:cNvPicPr/>
            <p:nvPr/>
          </p:nvPicPr>
          <p:blipFill>
            <a:blip r:embed="rId9" cstate="screen">
              <a:extLst>
                <a:ext uri="{28A0092B-C50C-407E-A947-70E740481C1C}">
                  <a14:useLocalDpi xmlns:a14="http://schemas.microsoft.com/office/drawing/2010/main"/>
                </a:ext>
              </a:extLst>
            </a:blip>
            <a:stretch>
              <a:fillRect/>
            </a:stretch>
          </p:blipFill>
          <p:spPr>
            <a:xfrm>
              <a:off x="10417230" y="6102742"/>
              <a:ext cx="121831" cy="83553"/>
            </a:xfrm>
            <a:prstGeom prst="rect">
              <a:avLst/>
            </a:prstGeom>
          </p:spPr>
        </p:pic>
        <p:pic>
          <p:nvPicPr>
            <p:cNvPr id="16" name="bg object 29">
              <a:extLst>
                <a:ext uri="{FF2B5EF4-FFF2-40B4-BE49-F238E27FC236}">
                  <a16:creationId xmlns:a16="http://schemas.microsoft.com/office/drawing/2014/main" id="{80080F1E-DE29-000D-2DE6-CFA0A7D3D6B7}"/>
                </a:ext>
              </a:extLst>
            </p:cNvPr>
            <p:cNvPicPr/>
            <p:nvPr/>
          </p:nvPicPr>
          <p:blipFill>
            <a:blip r:embed="rId10" cstate="screen">
              <a:extLst>
                <a:ext uri="{28A0092B-C50C-407E-A947-70E740481C1C}">
                  <a14:useLocalDpi xmlns:a14="http://schemas.microsoft.com/office/drawing/2010/main"/>
                </a:ext>
              </a:extLst>
            </a:blip>
            <a:stretch>
              <a:fillRect/>
            </a:stretch>
          </p:blipFill>
          <p:spPr>
            <a:xfrm>
              <a:off x="10651768" y="6104832"/>
              <a:ext cx="67665" cy="79375"/>
            </a:xfrm>
            <a:prstGeom prst="rect">
              <a:avLst/>
            </a:prstGeom>
          </p:spPr>
        </p:pic>
        <p:pic>
          <p:nvPicPr>
            <p:cNvPr id="17" name="bg object 30">
              <a:extLst>
                <a:ext uri="{FF2B5EF4-FFF2-40B4-BE49-F238E27FC236}">
                  <a16:creationId xmlns:a16="http://schemas.microsoft.com/office/drawing/2014/main" id="{319A13E2-8919-230C-E818-12A3D33A77AE}"/>
                </a:ext>
              </a:extLst>
            </p:cNvPr>
            <p:cNvPicPr/>
            <p:nvPr/>
          </p:nvPicPr>
          <p:blipFill>
            <a:blip r:embed="rId11" cstate="screen">
              <a:extLst>
                <a:ext uri="{28A0092B-C50C-407E-A947-70E740481C1C}">
                  <a14:useLocalDpi xmlns:a14="http://schemas.microsoft.com/office/drawing/2010/main"/>
                </a:ext>
              </a:extLst>
            </a:blip>
            <a:stretch>
              <a:fillRect/>
            </a:stretch>
          </p:blipFill>
          <p:spPr>
            <a:xfrm>
              <a:off x="10836457" y="6102751"/>
              <a:ext cx="113156" cy="83045"/>
            </a:xfrm>
            <a:prstGeom prst="rect">
              <a:avLst/>
            </a:prstGeom>
          </p:spPr>
        </p:pic>
        <p:pic>
          <p:nvPicPr>
            <p:cNvPr id="18" name="bg object 31">
              <a:extLst>
                <a:ext uri="{FF2B5EF4-FFF2-40B4-BE49-F238E27FC236}">
                  <a16:creationId xmlns:a16="http://schemas.microsoft.com/office/drawing/2014/main" id="{7F11490F-3BD7-36BD-ACBA-91BC06A5AC3F}"/>
                </a:ext>
              </a:extLst>
            </p:cNvPr>
            <p:cNvPicPr/>
            <p:nvPr/>
          </p:nvPicPr>
          <p:blipFill>
            <a:blip r:embed="rId12" cstate="screen">
              <a:extLst>
                <a:ext uri="{28A0092B-C50C-407E-A947-70E740481C1C}">
                  <a14:useLocalDpi xmlns:a14="http://schemas.microsoft.com/office/drawing/2010/main"/>
                </a:ext>
              </a:extLst>
            </a:blip>
            <a:stretch>
              <a:fillRect/>
            </a:stretch>
          </p:blipFill>
          <p:spPr>
            <a:xfrm>
              <a:off x="11068212" y="6104895"/>
              <a:ext cx="67691" cy="79336"/>
            </a:xfrm>
            <a:prstGeom prst="rect">
              <a:avLst/>
            </a:prstGeom>
          </p:spPr>
        </p:pic>
        <p:pic>
          <p:nvPicPr>
            <p:cNvPr id="19" name="bg object 32">
              <a:extLst>
                <a:ext uri="{FF2B5EF4-FFF2-40B4-BE49-F238E27FC236}">
                  <a16:creationId xmlns:a16="http://schemas.microsoft.com/office/drawing/2014/main" id="{A37F5FE8-172D-42A5-74DC-FDF8ABB32F6C}"/>
                </a:ext>
              </a:extLst>
            </p:cNvPr>
            <p:cNvPicPr/>
            <p:nvPr/>
          </p:nvPicPr>
          <p:blipFill>
            <a:blip r:embed="rId13" cstate="screen">
              <a:extLst>
                <a:ext uri="{28A0092B-C50C-407E-A947-70E740481C1C}">
                  <a14:useLocalDpi xmlns:a14="http://schemas.microsoft.com/office/drawing/2010/main"/>
                </a:ext>
              </a:extLst>
            </a:blip>
            <a:stretch>
              <a:fillRect/>
            </a:stretch>
          </p:blipFill>
          <p:spPr>
            <a:xfrm>
              <a:off x="11252978" y="6104909"/>
              <a:ext cx="88480" cy="79362"/>
            </a:xfrm>
            <a:prstGeom prst="rect">
              <a:avLst/>
            </a:prstGeom>
          </p:spPr>
        </p:pic>
        <p:pic>
          <p:nvPicPr>
            <p:cNvPr id="20" name="bg object 33">
              <a:extLst>
                <a:ext uri="{FF2B5EF4-FFF2-40B4-BE49-F238E27FC236}">
                  <a16:creationId xmlns:a16="http://schemas.microsoft.com/office/drawing/2014/main" id="{2095024D-C857-B3A0-39E5-296E4F75AE8A}"/>
                </a:ext>
              </a:extLst>
            </p:cNvPr>
            <p:cNvPicPr/>
            <p:nvPr/>
          </p:nvPicPr>
          <p:blipFill>
            <a:blip r:embed="rId14" cstate="screen">
              <a:extLst>
                <a:ext uri="{28A0092B-C50C-407E-A947-70E740481C1C}">
                  <a14:useLocalDpi xmlns:a14="http://schemas.microsoft.com/office/drawing/2010/main"/>
                </a:ext>
              </a:extLst>
            </a:blip>
            <a:stretch>
              <a:fillRect/>
            </a:stretch>
          </p:blipFill>
          <p:spPr>
            <a:xfrm>
              <a:off x="11438938" y="6102833"/>
              <a:ext cx="120408" cy="81432"/>
            </a:xfrm>
            <a:prstGeom prst="rect">
              <a:avLst/>
            </a:prstGeom>
          </p:spPr>
        </p:pic>
        <p:sp>
          <p:nvSpPr>
            <p:cNvPr id="21" name="bg object 34">
              <a:extLst>
                <a:ext uri="{FF2B5EF4-FFF2-40B4-BE49-F238E27FC236}">
                  <a16:creationId xmlns:a16="http://schemas.microsoft.com/office/drawing/2014/main" id="{BFFB391B-DB77-3357-2917-E11AB9C01406}"/>
                </a:ext>
              </a:extLst>
            </p:cNvPr>
            <p:cNvSpPr/>
            <p:nvPr/>
          </p:nvSpPr>
          <p:spPr>
            <a:xfrm>
              <a:off x="11667210" y="6104944"/>
              <a:ext cx="61594" cy="79375"/>
            </a:xfrm>
            <a:custGeom>
              <a:avLst/>
              <a:gdLst/>
              <a:ahLst/>
              <a:cxnLst/>
              <a:rect l="l" t="t" r="r" b="b"/>
              <a:pathLst>
                <a:path w="61595" h="79375">
                  <a:moveTo>
                    <a:pt x="25488" y="0"/>
                  </a:moveTo>
                  <a:lnTo>
                    <a:pt x="0" y="0"/>
                  </a:lnTo>
                  <a:lnTo>
                    <a:pt x="0" y="79336"/>
                  </a:lnTo>
                  <a:lnTo>
                    <a:pt x="61594" y="79336"/>
                  </a:lnTo>
                  <a:lnTo>
                    <a:pt x="61594" y="65900"/>
                  </a:lnTo>
                  <a:lnTo>
                    <a:pt x="25488" y="65900"/>
                  </a:lnTo>
                  <a:lnTo>
                    <a:pt x="25488" y="0"/>
                  </a:lnTo>
                  <a:close/>
                </a:path>
              </a:pathLst>
            </a:custGeom>
            <a:solidFill>
              <a:srgbClr val="002E6E"/>
            </a:solidFill>
          </p:spPr>
          <p:txBody>
            <a:bodyPr wrap="square" lIns="0" tIns="0" rIns="0" bIns="0" rtlCol="0"/>
            <a:lstStyle/>
            <a:p>
              <a:endParaRPr dirty="0"/>
            </a:p>
          </p:txBody>
        </p:sp>
        <p:sp>
          <p:nvSpPr>
            <p:cNvPr id="22" name="bg object 35">
              <a:extLst>
                <a:ext uri="{FF2B5EF4-FFF2-40B4-BE49-F238E27FC236}">
                  <a16:creationId xmlns:a16="http://schemas.microsoft.com/office/drawing/2014/main" id="{D67C7133-EA34-0512-CF9B-681970BC4209}"/>
                </a:ext>
              </a:extLst>
            </p:cNvPr>
            <p:cNvSpPr/>
            <p:nvPr/>
          </p:nvSpPr>
          <p:spPr>
            <a:xfrm>
              <a:off x="9615094" y="5254891"/>
              <a:ext cx="1346835" cy="575945"/>
            </a:xfrm>
            <a:custGeom>
              <a:avLst/>
              <a:gdLst/>
              <a:ahLst/>
              <a:cxnLst/>
              <a:rect l="l" t="t" r="r" b="b"/>
              <a:pathLst>
                <a:path w="1346834" h="575945">
                  <a:moveTo>
                    <a:pt x="500697" y="82600"/>
                  </a:moveTo>
                  <a:lnTo>
                    <a:pt x="472389" y="56705"/>
                  </a:lnTo>
                  <a:lnTo>
                    <a:pt x="462864" y="55041"/>
                  </a:lnTo>
                  <a:lnTo>
                    <a:pt x="455104" y="56248"/>
                  </a:lnTo>
                  <a:lnTo>
                    <a:pt x="450138" y="60363"/>
                  </a:lnTo>
                  <a:lnTo>
                    <a:pt x="449059" y="66738"/>
                  </a:lnTo>
                  <a:lnTo>
                    <a:pt x="451891" y="74079"/>
                  </a:lnTo>
                  <a:lnTo>
                    <a:pt x="458076" y="81508"/>
                  </a:lnTo>
                  <a:lnTo>
                    <a:pt x="467080" y="88150"/>
                  </a:lnTo>
                  <a:lnTo>
                    <a:pt x="477342" y="92646"/>
                  </a:lnTo>
                  <a:lnTo>
                    <a:pt x="486879" y="94297"/>
                  </a:lnTo>
                  <a:lnTo>
                    <a:pt x="494652" y="93078"/>
                  </a:lnTo>
                  <a:lnTo>
                    <a:pt x="499618" y="88963"/>
                  </a:lnTo>
                  <a:lnTo>
                    <a:pt x="500697" y="82600"/>
                  </a:lnTo>
                  <a:close/>
                </a:path>
                <a:path w="1346834" h="575945">
                  <a:moveTo>
                    <a:pt x="1346377" y="282803"/>
                  </a:moveTo>
                  <a:lnTo>
                    <a:pt x="1331620" y="221462"/>
                  </a:lnTo>
                  <a:lnTo>
                    <a:pt x="1289367" y="164579"/>
                  </a:lnTo>
                  <a:lnTo>
                    <a:pt x="1258874" y="138226"/>
                  </a:lnTo>
                  <a:lnTo>
                    <a:pt x="1222667" y="113499"/>
                  </a:lnTo>
                  <a:lnTo>
                    <a:pt x="1181087" y="90551"/>
                  </a:lnTo>
                  <a:lnTo>
                    <a:pt x="1134541" y="69583"/>
                  </a:lnTo>
                  <a:lnTo>
                    <a:pt x="1083411" y="50723"/>
                  </a:lnTo>
                  <a:lnTo>
                    <a:pt x="1028065" y="34175"/>
                  </a:lnTo>
                  <a:lnTo>
                    <a:pt x="968895" y="20091"/>
                  </a:lnTo>
                  <a:lnTo>
                    <a:pt x="906259" y="8648"/>
                  </a:lnTo>
                  <a:lnTo>
                    <a:pt x="840562" y="0"/>
                  </a:lnTo>
                  <a:lnTo>
                    <a:pt x="902233" y="14376"/>
                  </a:lnTo>
                  <a:lnTo>
                    <a:pt x="958926" y="31851"/>
                  </a:lnTo>
                  <a:lnTo>
                    <a:pt x="1010056" y="52158"/>
                  </a:lnTo>
                  <a:lnTo>
                    <a:pt x="1055001" y="75044"/>
                  </a:lnTo>
                  <a:lnTo>
                    <a:pt x="1093152" y="100241"/>
                  </a:lnTo>
                  <a:lnTo>
                    <a:pt x="1123886" y="127495"/>
                  </a:lnTo>
                  <a:lnTo>
                    <a:pt x="1160665" y="187058"/>
                  </a:lnTo>
                  <a:lnTo>
                    <a:pt x="1165491" y="218859"/>
                  </a:lnTo>
                  <a:lnTo>
                    <a:pt x="1161732" y="246964"/>
                  </a:lnTo>
                  <a:lnTo>
                    <a:pt x="1132903" y="300113"/>
                  </a:lnTo>
                  <a:lnTo>
                    <a:pt x="1078471" y="348018"/>
                  </a:lnTo>
                  <a:lnTo>
                    <a:pt x="1042695" y="369544"/>
                  </a:lnTo>
                  <a:lnTo>
                    <a:pt x="1001776" y="389216"/>
                  </a:lnTo>
                  <a:lnTo>
                    <a:pt x="956132" y="406857"/>
                  </a:lnTo>
                  <a:lnTo>
                    <a:pt x="906170" y="422275"/>
                  </a:lnTo>
                  <a:lnTo>
                    <a:pt x="852335" y="435292"/>
                  </a:lnTo>
                  <a:lnTo>
                    <a:pt x="795032" y="445731"/>
                  </a:lnTo>
                  <a:lnTo>
                    <a:pt x="734669" y="453415"/>
                  </a:lnTo>
                  <a:lnTo>
                    <a:pt x="671690" y="458165"/>
                  </a:lnTo>
                  <a:lnTo>
                    <a:pt x="606488" y="459778"/>
                  </a:lnTo>
                  <a:lnTo>
                    <a:pt x="541299" y="458165"/>
                  </a:lnTo>
                  <a:lnTo>
                    <a:pt x="478320" y="453415"/>
                  </a:lnTo>
                  <a:lnTo>
                    <a:pt x="417969" y="445731"/>
                  </a:lnTo>
                  <a:lnTo>
                    <a:pt x="360654" y="435292"/>
                  </a:lnTo>
                  <a:lnTo>
                    <a:pt x="306819" y="422275"/>
                  </a:lnTo>
                  <a:lnTo>
                    <a:pt x="256870" y="406857"/>
                  </a:lnTo>
                  <a:lnTo>
                    <a:pt x="211213" y="389216"/>
                  </a:lnTo>
                  <a:lnTo>
                    <a:pt x="170294" y="369544"/>
                  </a:lnTo>
                  <a:lnTo>
                    <a:pt x="134518" y="348018"/>
                  </a:lnTo>
                  <a:lnTo>
                    <a:pt x="80073" y="300113"/>
                  </a:lnTo>
                  <a:lnTo>
                    <a:pt x="51244" y="246964"/>
                  </a:lnTo>
                  <a:lnTo>
                    <a:pt x="47485" y="218859"/>
                  </a:lnTo>
                  <a:lnTo>
                    <a:pt x="48793" y="202323"/>
                  </a:lnTo>
                  <a:lnTo>
                    <a:pt x="52628" y="186093"/>
                  </a:lnTo>
                  <a:lnTo>
                    <a:pt x="58928" y="170180"/>
                  </a:lnTo>
                  <a:lnTo>
                    <a:pt x="67576" y="154622"/>
                  </a:lnTo>
                  <a:lnTo>
                    <a:pt x="38773" y="184505"/>
                  </a:lnTo>
                  <a:lnTo>
                    <a:pt x="17564" y="215976"/>
                  </a:lnTo>
                  <a:lnTo>
                    <a:pt x="4483" y="248818"/>
                  </a:lnTo>
                  <a:lnTo>
                    <a:pt x="0" y="282803"/>
                  </a:lnTo>
                  <a:lnTo>
                    <a:pt x="3086" y="311035"/>
                  </a:lnTo>
                  <a:lnTo>
                    <a:pt x="26885" y="365086"/>
                  </a:lnTo>
                  <a:lnTo>
                    <a:pt x="72339" y="415124"/>
                  </a:lnTo>
                  <a:lnTo>
                    <a:pt x="137172" y="460171"/>
                  </a:lnTo>
                  <a:lnTo>
                    <a:pt x="176149" y="480504"/>
                  </a:lnTo>
                  <a:lnTo>
                    <a:pt x="219138" y="499224"/>
                  </a:lnTo>
                  <a:lnTo>
                    <a:pt x="265836" y="516204"/>
                  </a:lnTo>
                  <a:lnTo>
                    <a:pt x="315976" y="531304"/>
                  </a:lnTo>
                  <a:lnTo>
                    <a:pt x="369265" y="544436"/>
                  </a:lnTo>
                  <a:lnTo>
                    <a:pt x="425424" y="555447"/>
                  </a:lnTo>
                  <a:lnTo>
                    <a:pt x="484187" y="564222"/>
                  </a:lnTo>
                  <a:lnTo>
                    <a:pt x="545249" y="570649"/>
                  </a:lnTo>
                  <a:lnTo>
                    <a:pt x="608330" y="574598"/>
                  </a:lnTo>
                  <a:lnTo>
                    <a:pt x="673163" y="575932"/>
                  </a:lnTo>
                  <a:lnTo>
                    <a:pt x="738009" y="574598"/>
                  </a:lnTo>
                  <a:lnTo>
                    <a:pt x="801103" y="570649"/>
                  </a:lnTo>
                  <a:lnTo>
                    <a:pt x="862164" y="564222"/>
                  </a:lnTo>
                  <a:lnTo>
                    <a:pt x="920927" y="555447"/>
                  </a:lnTo>
                  <a:lnTo>
                    <a:pt x="977099" y="544436"/>
                  </a:lnTo>
                  <a:lnTo>
                    <a:pt x="1030389" y="531304"/>
                  </a:lnTo>
                  <a:lnTo>
                    <a:pt x="1080528" y="516204"/>
                  </a:lnTo>
                  <a:lnTo>
                    <a:pt x="1127239" y="499224"/>
                  </a:lnTo>
                  <a:lnTo>
                    <a:pt x="1170216" y="480504"/>
                  </a:lnTo>
                  <a:lnTo>
                    <a:pt x="1209205" y="460171"/>
                  </a:lnTo>
                  <a:lnTo>
                    <a:pt x="1243901" y="438340"/>
                  </a:lnTo>
                  <a:lnTo>
                    <a:pt x="1299337" y="390677"/>
                  </a:lnTo>
                  <a:lnTo>
                    <a:pt x="1334249" y="338505"/>
                  </a:lnTo>
                  <a:lnTo>
                    <a:pt x="1343304" y="311035"/>
                  </a:lnTo>
                  <a:lnTo>
                    <a:pt x="1346377" y="282803"/>
                  </a:lnTo>
                  <a:close/>
                </a:path>
              </a:pathLst>
            </a:custGeom>
            <a:solidFill>
              <a:srgbClr val="002E6E"/>
            </a:solidFill>
          </p:spPr>
          <p:txBody>
            <a:bodyPr wrap="square" lIns="0" tIns="0" rIns="0" bIns="0" rtlCol="0"/>
            <a:lstStyle/>
            <a:p>
              <a:endParaRPr dirty="0"/>
            </a:p>
          </p:txBody>
        </p:sp>
        <p:sp>
          <p:nvSpPr>
            <p:cNvPr id="23" name="bg object 36">
              <a:extLst>
                <a:ext uri="{FF2B5EF4-FFF2-40B4-BE49-F238E27FC236}">
                  <a16:creationId xmlns:a16="http://schemas.microsoft.com/office/drawing/2014/main" id="{C874C167-EEDE-5AB0-C467-915EE16DC008}"/>
                </a:ext>
              </a:extLst>
            </p:cNvPr>
            <p:cNvSpPr/>
            <p:nvPr/>
          </p:nvSpPr>
          <p:spPr>
            <a:xfrm>
              <a:off x="10176852" y="4940649"/>
              <a:ext cx="192405" cy="146050"/>
            </a:xfrm>
            <a:custGeom>
              <a:avLst/>
              <a:gdLst/>
              <a:ahLst/>
              <a:cxnLst/>
              <a:rect l="l" t="t" r="r" b="b"/>
              <a:pathLst>
                <a:path w="192404" h="146050">
                  <a:moveTo>
                    <a:pt x="51370" y="0"/>
                  </a:moveTo>
                  <a:lnTo>
                    <a:pt x="22492" y="4514"/>
                  </a:lnTo>
                  <a:lnTo>
                    <a:pt x="4045" y="19802"/>
                  </a:lnTo>
                  <a:lnTo>
                    <a:pt x="0" y="43459"/>
                  </a:lnTo>
                  <a:lnTo>
                    <a:pt x="10514" y="70759"/>
                  </a:lnTo>
                  <a:lnTo>
                    <a:pt x="33561" y="98371"/>
                  </a:lnTo>
                  <a:lnTo>
                    <a:pt x="67113" y="122964"/>
                  </a:lnTo>
                  <a:lnTo>
                    <a:pt x="105156" y="139705"/>
                  </a:lnTo>
                  <a:lnTo>
                    <a:pt x="140576" y="145862"/>
                  </a:lnTo>
                  <a:lnTo>
                    <a:pt x="169472" y="141341"/>
                  </a:lnTo>
                  <a:lnTo>
                    <a:pt x="187941" y="126050"/>
                  </a:lnTo>
                  <a:lnTo>
                    <a:pt x="191954" y="102398"/>
                  </a:lnTo>
                  <a:lnTo>
                    <a:pt x="181432" y="75107"/>
                  </a:lnTo>
                  <a:lnTo>
                    <a:pt x="158394" y="47497"/>
                  </a:lnTo>
                  <a:lnTo>
                    <a:pt x="124860" y="22888"/>
                  </a:lnTo>
                  <a:lnTo>
                    <a:pt x="86789" y="6157"/>
                  </a:lnTo>
                  <a:lnTo>
                    <a:pt x="51370" y="0"/>
                  </a:lnTo>
                  <a:close/>
                </a:path>
              </a:pathLst>
            </a:custGeom>
            <a:solidFill>
              <a:srgbClr val="00A88E"/>
            </a:solidFill>
          </p:spPr>
          <p:txBody>
            <a:bodyPr wrap="square" lIns="0" tIns="0" rIns="0" bIns="0" rtlCol="0"/>
            <a:lstStyle/>
            <a:p>
              <a:endParaRPr dirty="0"/>
            </a:p>
          </p:txBody>
        </p:sp>
        <p:sp>
          <p:nvSpPr>
            <p:cNvPr id="24" name="bg object 37">
              <a:extLst>
                <a:ext uri="{FF2B5EF4-FFF2-40B4-BE49-F238E27FC236}">
                  <a16:creationId xmlns:a16="http://schemas.microsoft.com/office/drawing/2014/main" id="{047276B3-5B94-9A7B-D310-00B8F1E122F6}"/>
                </a:ext>
              </a:extLst>
            </p:cNvPr>
            <p:cNvSpPr/>
            <p:nvPr/>
          </p:nvSpPr>
          <p:spPr>
            <a:xfrm>
              <a:off x="10130980" y="5104840"/>
              <a:ext cx="125095" cy="95250"/>
            </a:xfrm>
            <a:custGeom>
              <a:avLst/>
              <a:gdLst/>
              <a:ahLst/>
              <a:cxnLst/>
              <a:rect l="l" t="t" r="r" b="b"/>
              <a:pathLst>
                <a:path w="125095" h="95250">
                  <a:moveTo>
                    <a:pt x="33409" y="0"/>
                  </a:moveTo>
                  <a:lnTo>
                    <a:pt x="14618" y="2948"/>
                  </a:lnTo>
                  <a:lnTo>
                    <a:pt x="2604" y="12904"/>
                  </a:lnTo>
                  <a:lnTo>
                    <a:pt x="0" y="28286"/>
                  </a:lnTo>
                  <a:lnTo>
                    <a:pt x="6850" y="46020"/>
                  </a:lnTo>
                  <a:lnTo>
                    <a:pt x="21833" y="63954"/>
                  </a:lnTo>
                  <a:lnTo>
                    <a:pt x="43625" y="79935"/>
                  </a:lnTo>
                  <a:lnTo>
                    <a:pt x="68375" y="90823"/>
                  </a:lnTo>
                  <a:lnTo>
                    <a:pt x="91402" y="94830"/>
                  </a:lnTo>
                  <a:lnTo>
                    <a:pt x="110161" y="91892"/>
                  </a:lnTo>
                  <a:lnTo>
                    <a:pt x="122111" y="81941"/>
                  </a:lnTo>
                  <a:lnTo>
                    <a:pt x="124755" y="66564"/>
                  </a:lnTo>
                  <a:lnTo>
                    <a:pt x="117932" y="48825"/>
                  </a:lnTo>
                  <a:lnTo>
                    <a:pt x="102965" y="30883"/>
                  </a:lnTo>
                  <a:lnTo>
                    <a:pt x="81178" y="14898"/>
                  </a:lnTo>
                  <a:lnTo>
                    <a:pt x="56441" y="4001"/>
                  </a:lnTo>
                  <a:lnTo>
                    <a:pt x="33409" y="0"/>
                  </a:lnTo>
                  <a:close/>
                </a:path>
              </a:pathLst>
            </a:custGeom>
            <a:solidFill>
              <a:srgbClr val="002E6E"/>
            </a:solidFill>
          </p:spPr>
          <p:txBody>
            <a:bodyPr wrap="square" lIns="0" tIns="0" rIns="0" bIns="0" rtlCol="0"/>
            <a:lstStyle/>
            <a:p>
              <a:endParaRPr dirty="0"/>
            </a:p>
          </p:txBody>
        </p:sp>
        <p:pic>
          <p:nvPicPr>
            <p:cNvPr id="25" name="bg object 38">
              <a:extLst>
                <a:ext uri="{FF2B5EF4-FFF2-40B4-BE49-F238E27FC236}">
                  <a16:creationId xmlns:a16="http://schemas.microsoft.com/office/drawing/2014/main" id="{200325C6-A12D-619C-A0C5-26592D73C2CF}"/>
                </a:ext>
              </a:extLst>
            </p:cNvPr>
            <p:cNvPicPr/>
            <p:nvPr/>
          </p:nvPicPr>
          <p:blipFill>
            <a:blip r:embed="rId15" cstate="screen">
              <a:extLst>
                <a:ext uri="{28A0092B-C50C-407E-A947-70E740481C1C}">
                  <a14:useLocalDpi xmlns:a14="http://schemas.microsoft.com/office/drawing/2010/main"/>
                </a:ext>
              </a:extLst>
            </a:blip>
            <a:stretch>
              <a:fillRect/>
            </a:stretch>
          </p:blipFill>
          <p:spPr>
            <a:xfrm>
              <a:off x="10090597" y="5220781"/>
              <a:ext cx="86053" cy="65406"/>
            </a:xfrm>
            <a:prstGeom prst="rect">
              <a:avLst/>
            </a:prstGeom>
          </p:spPr>
        </p:pic>
        <p:sp>
          <p:nvSpPr>
            <p:cNvPr id="26" name="bg object 39">
              <a:extLst>
                <a:ext uri="{FF2B5EF4-FFF2-40B4-BE49-F238E27FC236}">
                  <a16:creationId xmlns:a16="http://schemas.microsoft.com/office/drawing/2014/main" id="{8FF1F604-83B7-8B77-95CB-64A8445ED14B}"/>
                </a:ext>
              </a:extLst>
            </p:cNvPr>
            <p:cNvSpPr/>
            <p:nvPr/>
          </p:nvSpPr>
          <p:spPr>
            <a:xfrm>
              <a:off x="10118708" y="4902858"/>
              <a:ext cx="52705" cy="38735"/>
            </a:xfrm>
            <a:custGeom>
              <a:avLst/>
              <a:gdLst/>
              <a:ahLst/>
              <a:cxnLst/>
              <a:rect l="l" t="t" r="r" b="b"/>
              <a:pathLst>
                <a:path w="52704" h="38735">
                  <a:moveTo>
                    <a:pt x="15172" y="0"/>
                  </a:moveTo>
                  <a:lnTo>
                    <a:pt x="6999" y="995"/>
                  </a:lnTo>
                  <a:lnTo>
                    <a:pt x="1537" y="4841"/>
                  </a:lnTo>
                  <a:lnTo>
                    <a:pt x="0" y="10938"/>
                  </a:lnTo>
                  <a:lnTo>
                    <a:pt x="2447" y="18057"/>
                  </a:lnTo>
                  <a:lnTo>
                    <a:pt x="8383" y="25331"/>
                  </a:lnTo>
                  <a:lnTo>
                    <a:pt x="17311" y="31892"/>
                  </a:lnTo>
                  <a:lnTo>
                    <a:pt x="27650" y="36458"/>
                  </a:lnTo>
                  <a:lnTo>
                    <a:pt x="37435" y="38260"/>
                  </a:lnTo>
                  <a:lnTo>
                    <a:pt x="45594" y="37259"/>
                  </a:lnTo>
                  <a:lnTo>
                    <a:pt x="51054" y="33416"/>
                  </a:lnTo>
                  <a:lnTo>
                    <a:pt x="52607" y="27327"/>
                  </a:lnTo>
                  <a:lnTo>
                    <a:pt x="50156" y="20212"/>
                  </a:lnTo>
                  <a:lnTo>
                    <a:pt x="44214" y="12939"/>
                  </a:lnTo>
                  <a:lnTo>
                    <a:pt x="35294" y="6378"/>
                  </a:lnTo>
                  <a:lnTo>
                    <a:pt x="24967" y="1809"/>
                  </a:lnTo>
                  <a:lnTo>
                    <a:pt x="15172" y="0"/>
                  </a:lnTo>
                  <a:close/>
                </a:path>
              </a:pathLst>
            </a:custGeom>
            <a:solidFill>
              <a:srgbClr val="002E6E"/>
            </a:solidFill>
          </p:spPr>
          <p:txBody>
            <a:bodyPr wrap="square" lIns="0" tIns="0" rIns="0" bIns="0" rtlCol="0"/>
            <a:lstStyle/>
            <a:p>
              <a:endParaRPr dirty="0"/>
            </a:p>
          </p:txBody>
        </p:sp>
        <p:sp>
          <p:nvSpPr>
            <p:cNvPr id="27" name="bg object 40">
              <a:extLst>
                <a:ext uri="{FF2B5EF4-FFF2-40B4-BE49-F238E27FC236}">
                  <a16:creationId xmlns:a16="http://schemas.microsoft.com/office/drawing/2014/main" id="{587902F9-C3B2-26BB-6950-DAA946E9F404}"/>
                </a:ext>
              </a:extLst>
            </p:cNvPr>
            <p:cNvSpPr/>
            <p:nvPr/>
          </p:nvSpPr>
          <p:spPr>
            <a:xfrm>
              <a:off x="9735908" y="5090885"/>
              <a:ext cx="195580" cy="142240"/>
            </a:xfrm>
            <a:custGeom>
              <a:avLst/>
              <a:gdLst/>
              <a:ahLst/>
              <a:cxnLst/>
              <a:rect l="l" t="t" r="r" b="b"/>
              <a:pathLst>
                <a:path w="195579" h="142239">
                  <a:moveTo>
                    <a:pt x="56323" y="0"/>
                  </a:moveTo>
                  <a:lnTo>
                    <a:pt x="25997" y="3690"/>
                  </a:lnTo>
                  <a:lnTo>
                    <a:pt x="5767" y="17973"/>
                  </a:lnTo>
                  <a:lnTo>
                    <a:pt x="0" y="40630"/>
                  </a:lnTo>
                  <a:lnTo>
                    <a:pt x="9090" y="67103"/>
                  </a:lnTo>
                  <a:lnTo>
                    <a:pt x="31165" y="94158"/>
                  </a:lnTo>
                  <a:lnTo>
                    <a:pt x="64352" y="118557"/>
                  </a:lnTo>
                  <a:lnTo>
                    <a:pt x="102776" y="135485"/>
                  </a:lnTo>
                  <a:lnTo>
                    <a:pt x="139162" y="142193"/>
                  </a:lnTo>
                  <a:lnTo>
                    <a:pt x="169480" y="138494"/>
                  </a:lnTo>
                  <a:lnTo>
                    <a:pt x="189701" y="124196"/>
                  </a:lnTo>
                  <a:lnTo>
                    <a:pt x="195470" y="101563"/>
                  </a:lnTo>
                  <a:lnTo>
                    <a:pt x="186375" y="75104"/>
                  </a:lnTo>
                  <a:lnTo>
                    <a:pt x="164311" y="48054"/>
                  </a:lnTo>
                  <a:lnTo>
                    <a:pt x="131167" y="23650"/>
                  </a:lnTo>
                  <a:lnTo>
                    <a:pt x="92721" y="6715"/>
                  </a:lnTo>
                  <a:lnTo>
                    <a:pt x="56323" y="0"/>
                  </a:lnTo>
                  <a:close/>
                </a:path>
              </a:pathLst>
            </a:custGeom>
            <a:solidFill>
              <a:srgbClr val="00A88E"/>
            </a:solidFill>
          </p:spPr>
          <p:txBody>
            <a:bodyPr wrap="square" lIns="0" tIns="0" rIns="0" bIns="0" rtlCol="0"/>
            <a:lstStyle/>
            <a:p>
              <a:endParaRPr dirty="0"/>
            </a:p>
          </p:txBody>
        </p:sp>
        <p:sp>
          <p:nvSpPr>
            <p:cNvPr id="28" name="bg object 41">
              <a:extLst>
                <a:ext uri="{FF2B5EF4-FFF2-40B4-BE49-F238E27FC236}">
                  <a16:creationId xmlns:a16="http://schemas.microsoft.com/office/drawing/2014/main" id="{6F1E5215-5F0C-AB2D-44F1-32E756B86937}"/>
                </a:ext>
              </a:extLst>
            </p:cNvPr>
            <p:cNvSpPr/>
            <p:nvPr/>
          </p:nvSpPr>
          <p:spPr>
            <a:xfrm>
              <a:off x="9908641" y="4949215"/>
              <a:ext cx="204470" cy="158115"/>
            </a:xfrm>
            <a:custGeom>
              <a:avLst/>
              <a:gdLst/>
              <a:ahLst/>
              <a:cxnLst/>
              <a:rect l="l" t="t" r="r" b="b"/>
              <a:pathLst>
                <a:path w="204470" h="158114">
                  <a:moveTo>
                    <a:pt x="127025" y="131597"/>
                  </a:moveTo>
                  <a:lnTo>
                    <a:pt x="106781" y="96799"/>
                  </a:lnTo>
                  <a:lnTo>
                    <a:pt x="60248" y="69913"/>
                  </a:lnTo>
                  <a:lnTo>
                    <a:pt x="36588" y="65557"/>
                  </a:lnTo>
                  <a:lnTo>
                    <a:pt x="16891" y="67957"/>
                  </a:lnTo>
                  <a:lnTo>
                    <a:pt x="3771" y="77254"/>
                  </a:lnTo>
                  <a:lnTo>
                    <a:pt x="0" y="91973"/>
                  </a:lnTo>
                  <a:lnTo>
                    <a:pt x="5892" y="109156"/>
                  </a:lnTo>
                  <a:lnTo>
                    <a:pt x="20231" y="126733"/>
                  </a:lnTo>
                  <a:lnTo>
                    <a:pt x="41795" y="142595"/>
                  </a:lnTo>
                  <a:lnTo>
                    <a:pt x="66776" y="153631"/>
                  </a:lnTo>
                  <a:lnTo>
                    <a:pt x="90449" y="158000"/>
                  </a:lnTo>
                  <a:lnTo>
                    <a:pt x="110159" y="155600"/>
                  </a:lnTo>
                  <a:lnTo>
                    <a:pt x="123304" y="146316"/>
                  </a:lnTo>
                  <a:lnTo>
                    <a:pt x="127025" y="131597"/>
                  </a:lnTo>
                  <a:close/>
                </a:path>
                <a:path w="204470" h="158114">
                  <a:moveTo>
                    <a:pt x="204063" y="45542"/>
                  </a:moveTo>
                  <a:lnTo>
                    <a:pt x="175221" y="10591"/>
                  </a:lnTo>
                  <a:lnTo>
                    <a:pt x="141655" y="0"/>
                  </a:lnTo>
                  <a:lnTo>
                    <a:pt x="128066" y="1663"/>
                  </a:lnTo>
                  <a:lnTo>
                    <a:pt x="119011" y="8089"/>
                  </a:lnTo>
                  <a:lnTo>
                    <a:pt x="116408" y="18224"/>
                  </a:lnTo>
                  <a:lnTo>
                    <a:pt x="120472" y="30073"/>
                  </a:lnTo>
                  <a:lnTo>
                    <a:pt x="130365" y="42214"/>
                  </a:lnTo>
                  <a:lnTo>
                    <a:pt x="145237" y="53187"/>
                  </a:lnTo>
                  <a:lnTo>
                    <a:pt x="162471" y="60782"/>
                  </a:lnTo>
                  <a:lnTo>
                    <a:pt x="178790" y="63779"/>
                  </a:lnTo>
                  <a:lnTo>
                    <a:pt x="192392" y="62115"/>
                  </a:lnTo>
                  <a:lnTo>
                    <a:pt x="201472" y="55689"/>
                  </a:lnTo>
                  <a:lnTo>
                    <a:pt x="204063" y="45542"/>
                  </a:lnTo>
                  <a:close/>
                </a:path>
              </a:pathLst>
            </a:custGeom>
            <a:solidFill>
              <a:srgbClr val="002E6E"/>
            </a:solidFill>
          </p:spPr>
          <p:txBody>
            <a:bodyPr wrap="square" lIns="0" tIns="0" rIns="0" bIns="0" rtlCol="0"/>
            <a:lstStyle/>
            <a:p>
              <a:endParaRPr dirty="0"/>
            </a:p>
          </p:txBody>
        </p:sp>
        <p:sp>
          <p:nvSpPr>
            <p:cNvPr id="29" name="bg object 42">
              <a:extLst>
                <a:ext uri="{FF2B5EF4-FFF2-40B4-BE49-F238E27FC236}">
                  <a16:creationId xmlns:a16="http://schemas.microsoft.com/office/drawing/2014/main" id="{54B632EE-68E7-A5C5-D1FE-9F7C39D669AB}"/>
                </a:ext>
              </a:extLst>
            </p:cNvPr>
            <p:cNvSpPr/>
            <p:nvPr/>
          </p:nvSpPr>
          <p:spPr>
            <a:xfrm>
              <a:off x="10391381" y="5055538"/>
              <a:ext cx="50800" cy="40640"/>
            </a:xfrm>
            <a:custGeom>
              <a:avLst/>
              <a:gdLst/>
              <a:ahLst/>
              <a:cxnLst/>
              <a:rect l="l" t="t" r="r" b="b"/>
              <a:pathLst>
                <a:path w="50800" h="40639">
                  <a:moveTo>
                    <a:pt x="12469" y="0"/>
                  </a:moveTo>
                  <a:lnTo>
                    <a:pt x="5089" y="1439"/>
                  </a:lnTo>
                  <a:lnTo>
                    <a:pt x="609" y="5835"/>
                  </a:lnTo>
                  <a:lnTo>
                    <a:pt x="0" y="12455"/>
                  </a:lnTo>
                  <a:lnTo>
                    <a:pt x="3211" y="20018"/>
                  </a:lnTo>
                  <a:lnTo>
                    <a:pt x="9658" y="27595"/>
                  </a:lnTo>
                  <a:lnTo>
                    <a:pt x="18757" y="34258"/>
                  </a:lnTo>
                  <a:lnTo>
                    <a:pt x="28910" y="38732"/>
                  </a:lnTo>
                  <a:lnTo>
                    <a:pt x="38179" y="40247"/>
                  </a:lnTo>
                  <a:lnTo>
                    <a:pt x="45557" y="38803"/>
                  </a:lnTo>
                  <a:lnTo>
                    <a:pt x="50037" y="34397"/>
                  </a:lnTo>
                  <a:lnTo>
                    <a:pt x="50654" y="27770"/>
                  </a:lnTo>
                  <a:lnTo>
                    <a:pt x="47456" y="20215"/>
                  </a:lnTo>
                  <a:lnTo>
                    <a:pt x="41015" y="12645"/>
                  </a:lnTo>
                  <a:lnTo>
                    <a:pt x="31902" y="5975"/>
                  </a:lnTo>
                  <a:lnTo>
                    <a:pt x="21742" y="1513"/>
                  </a:lnTo>
                  <a:lnTo>
                    <a:pt x="12469" y="0"/>
                  </a:lnTo>
                  <a:close/>
                </a:path>
              </a:pathLst>
            </a:custGeom>
            <a:solidFill>
              <a:srgbClr val="002E6E"/>
            </a:solidFill>
          </p:spPr>
          <p:txBody>
            <a:bodyPr wrap="square" lIns="0" tIns="0" rIns="0" bIns="0" rtlCol="0"/>
            <a:lstStyle/>
            <a:p>
              <a:endParaRPr dirty="0"/>
            </a:p>
          </p:txBody>
        </p:sp>
        <p:pic>
          <p:nvPicPr>
            <p:cNvPr id="30" name="bg object 43">
              <a:extLst>
                <a:ext uri="{FF2B5EF4-FFF2-40B4-BE49-F238E27FC236}">
                  <a16:creationId xmlns:a16="http://schemas.microsoft.com/office/drawing/2014/main" id="{415105D9-78D5-DDDA-7B16-5AAFBDCDE77C}"/>
                </a:ext>
              </a:extLst>
            </p:cNvPr>
            <p:cNvPicPr/>
            <p:nvPr/>
          </p:nvPicPr>
          <p:blipFill>
            <a:blip r:embed="rId16" cstate="screen">
              <a:extLst>
                <a:ext uri="{28A0092B-C50C-407E-A947-70E740481C1C}">
                  <a14:useLocalDpi xmlns:a14="http://schemas.microsoft.com/office/drawing/2010/main"/>
                </a:ext>
              </a:extLst>
            </a:blip>
            <a:stretch>
              <a:fillRect/>
            </a:stretch>
          </p:blipFill>
          <p:spPr>
            <a:xfrm>
              <a:off x="10269525" y="5391859"/>
              <a:ext cx="188494" cy="149547"/>
            </a:xfrm>
            <a:prstGeom prst="rect">
              <a:avLst/>
            </a:prstGeom>
          </p:spPr>
        </p:pic>
        <p:sp>
          <p:nvSpPr>
            <p:cNvPr id="31" name="bg object 44">
              <a:extLst>
                <a:ext uri="{FF2B5EF4-FFF2-40B4-BE49-F238E27FC236}">
                  <a16:creationId xmlns:a16="http://schemas.microsoft.com/office/drawing/2014/main" id="{62A0B3F3-E55C-F16C-DFAC-D39B8611F656}"/>
                </a:ext>
              </a:extLst>
            </p:cNvPr>
            <p:cNvSpPr/>
            <p:nvPr/>
          </p:nvSpPr>
          <p:spPr>
            <a:xfrm>
              <a:off x="10321494" y="5137619"/>
              <a:ext cx="124460" cy="206375"/>
            </a:xfrm>
            <a:custGeom>
              <a:avLst/>
              <a:gdLst/>
              <a:ahLst/>
              <a:cxnLst/>
              <a:rect l="l" t="t" r="r" b="b"/>
              <a:pathLst>
                <a:path w="124459" h="206375">
                  <a:moveTo>
                    <a:pt x="122529" y="175717"/>
                  </a:moveTo>
                  <a:lnTo>
                    <a:pt x="99148" y="139141"/>
                  </a:lnTo>
                  <a:lnTo>
                    <a:pt x="52616" y="112280"/>
                  </a:lnTo>
                  <a:lnTo>
                    <a:pt x="30200" y="108635"/>
                  </a:lnTo>
                  <a:lnTo>
                    <a:pt x="12331" y="112115"/>
                  </a:lnTo>
                  <a:lnTo>
                    <a:pt x="1447" y="122707"/>
                  </a:lnTo>
                  <a:lnTo>
                    <a:pt x="0" y="138747"/>
                  </a:lnTo>
                  <a:lnTo>
                    <a:pt x="7772" y="157022"/>
                  </a:lnTo>
                  <a:lnTo>
                    <a:pt x="23380" y="175323"/>
                  </a:lnTo>
                  <a:lnTo>
                    <a:pt x="45402" y="191452"/>
                  </a:lnTo>
                  <a:lnTo>
                    <a:pt x="69926" y="202196"/>
                  </a:lnTo>
                  <a:lnTo>
                    <a:pt x="92329" y="205828"/>
                  </a:lnTo>
                  <a:lnTo>
                    <a:pt x="110172" y="202349"/>
                  </a:lnTo>
                  <a:lnTo>
                    <a:pt x="121056" y="191731"/>
                  </a:lnTo>
                  <a:lnTo>
                    <a:pt x="122529" y="175717"/>
                  </a:lnTo>
                  <a:close/>
                </a:path>
                <a:path w="124459" h="206375">
                  <a:moveTo>
                    <a:pt x="124371" y="46266"/>
                  </a:moveTo>
                  <a:lnTo>
                    <a:pt x="93052" y="9893"/>
                  </a:lnTo>
                  <a:lnTo>
                    <a:pt x="60655" y="0"/>
                  </a:lnTo>
                  <a:lnTo>
                    <a:pt x="48348" y="2400"/>
                  </a:lnTo>
                  <a:lnTo>
                    <a:pt x="40868" y="9715"/>
                  </a:lnTo>
                  <a:lnTo>
                    <a:pt x="39839" y="20777"/>
                  </a:lnTo>
                  <a:lnTo>
                    <a:pt x="45199" y="33388"/>
                  </a:lnTo>
                  <a:lnTo>
                    <a:pt x="55981" y="46012"/>
                  </a:lnTo>
                  <a:lnTo>
                    <a:pt x="71183" y="57150"/>
                  </a:lnTo>
                  <a:lnTo>
                    <a:pt x="88087" y="64554"/>
                  </a:lnTo>
                  <a:lnTo>
                    <a:pt x="103543" y="67056"/>
                  </a:lnTo>
                  <a:lnTo>
                    <a:pt x="115862" y="64643"/>
                  </a:lnTo>
                  <a:lnTo>
                    <a:pt x="123367" y="57315"/>
                  </a:lnTo>
                  <a:lnTo>
                    <a:pt x="124371" y="46266"/>
                  </a:lnTo>
                  <a:close/>
                </a:path>
              </a:pathLst>
            </a:custGeom>
            <a:solidFill>
              <a:srgbClr val="002E6E"/>
            </a:solidFill>
          </p:spPr>
          <p:txBody>
            <a:bodyPr wrap="square" lIns="0" tIns="0" rIns="0" bIns="0" rtlCol="0"/>
            <a:lstStyle/>
            <a:p>
              <a:endParaRPr dirty="0"/>
            </a:p>
          </p:txBody>
        </p:sp>
        <p:pic>
          <p:nvPicPr>
            <p:cNvPr id="32" name="bg object 45">
              <a:extLst>
                <a:ext uri="{FF2B5EF4-FFF2-40B4-BE49-F238E27FC236}">
                  <a16:creationId xmlns:a16="http://schemas.microsoft.com/office/drawing/2014/main" id="{A36C7FA6-2E62-C5B4-207F-74E3FC056FBB}"/>
                </a:ext>
              </a:extLst>
            </p:cNvPr>
            <p:cNvPicPr/>
            <p:nvPr/>
          </p:nvPicPr>
          <p:blipFill>
            <a:blip r:embed="rId17" cstate="screen">
              <a:extLst>
                <a:ext uri="{28A0092B-C50C-407E-A947-70E740481C1C}">
                  <a14:useLocalDpi xmlns:a14="http://schemas.microsoft.com/office/drawing/2010/main"/>
                </a:ext>
              </a:extLst>
            </a:blip>
            <a:stretch>
              <a:fillRect/>
            </a:stretch>
          </p:blipFill>
          <p:spPr>
            <a:xfrm>
              <a:off x="9278991" y="6313755"/>
              <a:ext cx="79679" cy="87045"/>
            </a:xfrm>
            <a:prstGeom prst="rect">
              <a:avLst/>
            </a:prstGeom>
          </p:spPr>
        </p:pic>
        <p:pic>
          <p:nvPicPr>
            <p:cNvPr id="33" name="bg object 46">
              <a:extLst>
                <a:ext uri="{FF2B5EF4-FFF2-40B4-BE49-F238E27FC236}">
                  <a16:creationId xmlns:a16="http://schemas.microsoft.com/office/drawing/2014/main" id="{0F01F708-9D38-DD6C-9124-031B9BEED315}"/>
                </a:ext>
              </a:extLst>
            </p:cNvPr>
            <p:cNvPicPr/>
            <p:nvPr/>
          </p:nvPicPr>
          <p:blipFill>
            <a:blip r:embed="rId18" cstate="screen">
              <a:extLst>
                <a:ext uri="{28A0092B-C50C-407E-A947-70E740481C1C}">
                  <a14:useLocalDpi xmlns:a14="http://schemas.microsoft.com/office/drawing/2010/main"/>
                </a:ext>
              </a:extLst>
            </a:blip>
            <a:stretch>
              <a:fillRect/>
            </a:stretch>
          </p:blipFill>
          <p:spPr>
            <a:xfrm>
              <a:off x="9459078" y="6313275"/>
              <a:ext cx="123202" cy="87426"/>
            </a:xfrm>
            <a:prstGeom prst="rect">
              <a:avLst/>
            </a:prstGeom>
          </p:spPr>
        </p:pic>
        <p:pic>
          <p:nvPicPr>
            <p:cNvPr id="34" name="bg object 47">
              <a:extLst>
                <a:ext uri="{FF2B5EF4-FFF2-40B4-BE49-F238E27FC236}">
                  <a16:creationId xmlns:a16="http://schemas.microsoft.com/office/drawing/2014/main" id="{4A4F56BC-EEAB-4893-7E19-0BACC4E9F814}"/>
                </a:ext>
              </a:extLst>
            </p:cNvPr>
            <p:cNvPicPr/>
            <p:nvPr/>
          </p:nvPicPr>
          <p:blipFill>
            <a:blip r:embed="rId19" cstate="screen">
              <a:extLst>
                <a:ext uri="{28A0092B-C50C-407E-A947-70E740481C1C}">
                  <a14:useLocalDpi xmlns:a14="http://schemas.microsoft.com/office/drawing/2010/main"/>
                </a:ext>
              </a:extLst>
            </a:blip>
            <a:stretch>
              <a:fillRect/>
            </a:stretch>
          </p:blipFill>
          <p:spPr>
            <a:xfrm>
              <a:off x="9689424" y="6315120"/>
              <a:ext cx="92646" cy="85572"/>
            </a:xfrm>
            <a:prstGeom prst="rect">
              <a:avLst/>
            </a:prstGeom>
          </p:spPr>
        </p:pic>
        <p:pic>
          <p:nvPicPr>
            <p:cNvPr id="35" name="bg object 48">
              <a:extLst>
                <a:ext uri="{FF2B5EF4-FFF2-40B4-BE49-F238E27FC236}">
                  <a16:creationId xmlns:a16="http://schemas.microsoft.com/office/drawing/2014/main" id="{A808D8BB-30C0-F02B-4B58-DEA698EE00C6}"/>
                </a:ext>
              </a:extLst>
            </p:cNvPr>
            <p:cNvPicPr/>
            <p:nvPr/>
          </p:nvPicPr>
          <p:blipFill>
            <a:blip r:embed="rId20" cstate="screen">
              <a:extLst>
                <a:ext uri="{28A0092B-C50C-407E-A947-70E740481C1C}">
                  <a14:useLocalDpi xmlns:a14="http://schemas.microsoft.com/office/drawing/2010/main"/>
                </a:ext>
              </a:extLst>
            </a:blip>
            <a:stretch>
              <a:fillRect/>
            </a:stretch>
          </p:blipFill>
          <p:spPr>
            <a:xfrm>
              <a:off x="9882826" y="6315104"/>
              <a:ext cx="74091" cy="83705"/>
            </a:xfrm>
            <a:prstGeom prst="rect">
              <a:avLst/>
            </a:prstGeom>
          </p:spPr>
        </p:pic>
        <p:sp>
          <p:nvSpPr>
            <p:cNvPr id="36" name="bg object 49">
              <a:extLst>
                <a:ext uri="{FF2B5EF4-FFF2-40B4-BE49-F238E27FC236}">
                  <a16:creationId xmlns:a16="http://schemas.microsoft.com/office/drawing/2014/main" id="{B3232F9E-4784-53B2-3DCB-43B489B523CC}"/>
                </a:ext>
              </a:extLst>
            </p:cNvPr>
            <p:cNvSpPr/>
            <p:nvPr/>
          </p:nvSpPr>
          <p:spPr>
            <a:xfrm>
              <a:off x="10057846" y="6361442"/>
              <a:ext cx="22860" cy="36830"/>
            </a:xfrm>
            <a:custGeom>
              <a:avLst/>
              <a:gdLst/>
              <a:ahLst/>
              <a:cxnLst/>
              <a:rect l="l" t="t" r="r" b="b"/>
              <a:pathLst>
                <a:path w="22859" h="36829">
                  <a:moveTo>
                    <a:pt x="0" y="36829"/>
                  </a:moveTo>
                  <a:lnTo>
                    <a:pt x="22491" y="36829"/>
                  </a:lnTo>
                  <a:lnTo>
                    <a:pt x="22491" y="0"/>
                  </a:lnTo>
                  <a:lnTo>
                    <a:pt x="0" y="0"/>
                  </a:lnTo>
                  <a:lnTo>
                    <a:pt x="0" y="36829"/>
                  </a:lnTo>
                  <a:close/>
                </a:path>
              </a:pathLst>
            </a:custGeom>
            <a:solidFill>
              <a:srgbClr val="002E6E"/>
            </a:solidFill>
          </p:spPr>
          <p:txBody>
            <a:bodyPr wrap="square" lIns="0" tIns="0" rIns="0" bIns="0" rtlCol="0"/>
            <a:lstStyle/>
            <a:p>
              <a:endParaRPr dirty="0"/>
            </a:p>
          </p:txBody>
        </p:sp>
        <p:sp>
          <p:nvSpPr>
            <p:cNvPr id="37" name="bg object 50">
              <a:extLst>
                <a:ext uri="{FF2B5EF4-FFF2-40B4-BE49-F238E27FC236}">
                  <a16:creationId xmlns:a16="http://schemas.microsoft.com/office/drawing/2014/main" id="{4BB2A5B0-E222-F40D-0C4F-80D539C3A035}"/>
                </a:ext>
              </a:extLst>
            </p:cNvPr>
            <p:cNvSpPr/>
            <p:nvPr/>
          </p:nvSpPr>
          <p:spPr>
            <a:xfrm>
              <a:off x="10057841" y="6315722"/>
              <a:ext cx="93980" cy="82550"/>
            </a:xfrm>
            <a:custGeom>
              <a:avLst/>
              <a:gdLst/>
              <a:ahLst/>
              <a:cxnLst/>
              <a:rect l="l" t="t" r="r" b="b"/>
              <a:pathLst>
                <a:path w="93979" h="82550">
                  <a:moveTo>
                    <a:pt x="93675" y="0"/>
                  </a:moveTo>
                  <a:lnTo>
                    <a:pt x="71196" y="0"/>
                  </a:lnTo>
                  <a:lnTo>
                    <a:pt x="71196" y="31750"/>
                  </a:lnTo>
                  <a:lnTo>
                    <a:pt x="22491" y="31750"/>
                  </a:lnTo>
                  <a:lnTo>
                    <a:pt x="22491" y="0"/>
                  </a:lnTo>
                  <a:lnTo>
                    <a:pt x="0" y="0"/>
                  </a:lnTo>
                  <a:lnTo>
                    <a:pt x="0" y="31750"/>
                  </a:lnTo>
                  <a:lnTo>
                    <a:pt x="0" y="45720"/>
                  </a:lnTo>
                  <a:lnTo>
                    <a:pt x="71196" y="45720"/>
                  </a:lnTo>
                  <a:lnTo>
                    <a:pt x="71196" y="82550"/>
                  </a:lnTo>
                  <a:lnTo>
                    <a:pt x="93675" y="82550"/>
                  </a:lnTo>
                  <a:lnTo>
                    <a:pt x="93675" y="45720"/>
                  </a:lnTo>
                  <a:lnTo>
                    <a:pt x="93675" y="31750"/>
                  </a:lnTo>
                  <a:lnTo>
                    <a:pt x="93675" y="0"/>
                  </a:lnTo>
                  <a:close/>
                </a:path>
              </a:pathLst>
            </a:custGeom>
            <a:solidFill>
              <a:srgbClr val="002E6E"/>
            </a:solidFill>
          </p:spPr>
          <p:txBody>
            <a:bodyPr wrap="square" lIns="0" tIns="0" rIns="0" bIns="0" rtlCol="0"/>
            <a:lstStyle/>
            <a:p>
              <a:endParaRPr dirty="0"/>
            </a:p>
          </p:txBody>
        </p:sp>
        <p:pic>
          <p:nvPicPr>
            <p:cNvPr id="38" name="bg object 51">
              <a:extLst>
                <a:ext uri="{FF2B5EF4-FFF2-40B4-BE49-F238E27FC236}">
                  <a16:creationId xmlns:a16="http://schemas.microsoft.com/office/drawing/2014/main" id="{AD6D5924-9BD5-4DA1-0B7E-6DC74F6EB071}"/>
                </a:ext>
              </a:extLst>
            </p:cNvPr>
            <p:cNvPicPr/>
            <p:nvPr/>
          </p:nvPicPr>
          <p:blipFill>
            <a:blip r:embed="rId21" cstate="screen">
              <a:extLst>
                <a:ext uri="{28A0092B-C50C-407E-A947-70E740481C1C}">
                  <a14:useLocalDpi xmlns:a14="http://schemas.microsoft.com/office/drawing/2010/main"/>
                </a:ext>
              </a:extLst>
            </a:blip>
            <a:stretch>
              <a:fillRect/>
            </a:stretch>
          </p:blipFill>
          <p:spPr>
            <a:xfrm>
              <a:off x="10424067" y="6313369"/>
              <a:ext cx="115265" cy="85445"/>
            </a:xfrm>
            <a:prstGeom prst="rect">
              <a:avLst/>
            </a:prstGeom>
          </p:spPr>
        </p:pic>
        <p:sp>
          <p:nvSpPr>
            <p:cNvPr id="39" name="bg object 52">
              <a:extLst>
                <a:ext uri="{FF2B5EF4-FFF2-40B4-BE49-F238E27FC236}">
                  <a16:creationId xmlns:a16="http://schemas.microsoft.com/office/drawing/2014/main" id="{FC1F37A5-E68E-FBC1-4C07-078CDBA91A91}"/>
                </a:ext>
              </a:extLst>
            </p:cNvPr>
            <p:cNvSpPr/>
            <p:nvPr/>
          </p:nvSpPr>
          <p:spPr>
            <a:xfrm>
              <a:off x="10639363" y="6315119"/>
              <a:ext cx="61594" cy="83820"/>
            </a:xfrm>
            <a:custGeom>
              <a:avLst/>
              <a:gdLst/>
              <a:ahLst/>
              <a:cxnLst/>
              <a:rect l="l" t="t" r="r" b="b"/>
              <a:pathLst>
                <a:path w="61595" h="83820">
                  <a:moveTo>
                    <a:pt x="61036" y="0"/>
                  </a:moveTo>
                  <a:lnTo>
                    <a:pt x="0" y="0"/>
                  </a:lnTo>
                  <a:lnTo>
                    <a:pt x="0" y="83692"/>
                  </a:lnTo>
                  <a:lnTo>
                    <a:pt x="22504" y="83692"/>
                  </a:lnTo>
                  <a:lnTo>
                    <a:pt x="22504" y="46913"/>
                  </a:lnTo>
                  <a:lnTo>
                    <a:pt x="58597" y="46913"/>
                  </a:lnTo>
                  <a:lnTo>
                    <a:pt x="58597" y="32765"/>
                  </a:lnTo>
                  <a:lnTo>
                    <a:pt x="22504" y="32765"/>
                  </a:lnTo>
                  <a:lnTo>
                    <a:pt x="22504" y="14173"/>
                  </a:lnTo>
                  <a:lnTo>
                    <a:pt x="61036" y="14173"/>
                  </a:lnTo>
                  <a:lnTo>
                    <a:pt x="61036" y="0"/>
                  </a:lnTo>
                  <a:close/>
                </a:path>
              </a:pathLst>
            </a:custGeom>
            <a:solidFill>
              <a:srgbClr val="002E6E"/>
            </a:solidFill>
          </p:spPr>
          <p:txBody>
            <a:bodyPr wrap="square" lIns="0" tIns="0" rIns="0" bIns="0" rtlCol="0"/>
            <a:lstStyle/>
            <a:p>
              <a:endParaRPr dirty="0"/>
            </a:p>
          </p:txBody>
        </p:sp>
        <p:pic>
          <p:nvPicPr>
            <p:cNvPr id="40" name="bg object 53">
              <a:extLst>
                <a:ext uri="{FF2B5EF4-FFF2-40B4-BE49-F238E27FC236}">
                  <a16:creationId xmlns:a16="http://schemas.microsoft.com/office/drawing/2014/main" id="{77E20664-7C82-8592-9C7F-FF88789DF7DF}"/>
                </a:ext>
              </a:extLst>
            </p:cNvPr>
            <p:cNvPicPr/>
            <p:nvPr/>
          </p:nvPicPr>
          <p:blipFill>
            <a:blip r:embed="rId22" cstate="screen">
              <a:extLst>
                <a:ext uri="{28A0092B-C50C-407E-A947-70E740481C1C}">
                  <a14:useLocalDpi xmlns:a14="http://schemas.microsoft.com/office/drawing/2010/main"/>
                </a:ext>
              </a:extLst>
            </a:blip>
            <a:stretch>
              <a:fillRect/>
            </a:stretch>
          </p:blipFill>
          <p:spPr>
            <a:xfrm>
              <a:off x="10806506" y="6315099"/>
              <a:ext cx="84150" cy="83705"/>
            </a:xfrm>
            <a:prstGeom prst="rect">
              <a:avLst/>
            </a:prstGeom>
          </p:spPr>
        </p:pic>
        <p:sp>
          <p:nvSpPr>
            <p:cNvPr id="41" name="bg object 54">
              <a:extLst>
                <a:ext uri="{FF2B5EF4-FFF2-40B4-BE49-F238E27FC236}">
                  <a16:creationId xmlns:a16="http://schemas.microsoft.com/office/drawing/2014/main" id="{90E1AA22-994A-296B-90E4-6EFB923AAC38}"/>
                </a:ext>
              </a:extLst>
            </p:cNvPr>
            <p:cNvSpPr/>
            <p:nvPr/>
          </p:nvSpPr>
          <p:spPr>
            <a:xfrm>
              <a:off x="10992243" y="6315138"/>
              <a:ext cx="22860" cy="83820"/>
            </a:xfrm>
            <a:custGeom>
              <a:avLst/>
              <a:gdLst/>
              <a:ahLst/>
              <a:cxnLst/>
              <a:rect l="l" t="t" r="r" b="b"/>
              <a:pathLst>
                <a:path w="22859" h="83820">
                  <a:moveTo>
                    <a:pt x="22466" y="0"/>
                  </a:moveTo>
                  <a:lnTo>
                    <a:pt x="0" y="0"/>
                  </a:lnTo>
                  <a:lnTo>
                    <a:pt x="0" y="83667"/>
                  </a:lnTo>
                  <a:lnTo>
                    <a:pt x="22466" y="83667"/>
                  </a:lnTo>
                  <a:lnTo>
                    <a:pt x="22466" y="0"/>
                  </a:lnTo>
                  <a:close/>
                </a:path>
              </a:pathLst>
            </a:custGeom>
            <a:solidFill>
              <a:srgbClr val="002E6E"/>
            </a:solidFill>
          </p:spPr>
          <p:txBody>
            <a:bodyPr wrap="square" lIns="0" tIns="0" rIns="0" bIns="0" rtlCol="0"/>
            <a:lstStyle/>
            <a:p>
              <a:endParaRPr dirty="0"/>
            </a:p>
          </p:txBody>
        </p:sp>
        <p:pic>
          <p:nvPicPr>
            <p:cNvPr id="42" name="bg object 55">
              <a:extLst>
                <a:ext uri="{FF2B5EF4-FFF2-40B4-BE49-F238E27FC236}">
                  <a16:creationId xmlns:a16="http://schemas.microsoft.com/office/drawing/2014/main" id="{BA70E4BD-650A-6B30-F38C-2C5EA2F75B42}"/>
                </a:ext>
              </a:extLst>
            </p:cNvPr>
            <p:cNvPicPr/>
            <p:nvPr/>
          </p:nvPicPr>
          <p:blipFill>
            <a:blip r:embed="rId23" cstate="screen">
              <a:extLst>
                <a:ext uri="{28A0092B-C50C-407E-A947-70E740481C1C}">
                  <a14:useLocalDpi xmlns:a14="http://schemas.microsoft.com/office/drawing/2010/main"/>
                </a:ext>
              </a:extLst>
            </a:blip>
            <a:stretch>
              <a:fillRect/>
            </a:stretch>
          </p:blipFill>
          <p:spPr>
            <a:xfrm>
              <a:off x="11121703" y="6313251"/>
              <a:ext cx="89001" cy="87439"/>
            </a:xfrm>
            <a:prstGeom prst="rect">
              <a:avLst/>
            </a:prstGeom>
          </p:spPr>
        </p:pic>
        <p:pic>
          <p:nvPicPr>
            <p:cNvPr id="43" name="bg object 56">
              <a:extLst>
                <a:ext uri="{FF2B5EF4-FFF2-40B4-BE49-F238E27FC236}">
                  <a16:creationId xmlns:a16="http://schemas.microsoft.com/office/drawing/2014/main" id="{A291A888-8A53-F8B0-B3FA-40BC346C2B3F}"/>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1304880" y="6313369"/>
              <a:ext cx="115227" cy="85445"/>
            </a:xfrm>
            <a:prstGeom prst="rect">
              <a:avLst/>
            </a:prstGeom>
          </p:spPr>
        </p:pic>
      </p:grpSp>
    </p:spTree>
    <p:extLst>
      <p:ext uri="{BB962C8B-B14F-4D97-AF65-F5344CB8AC3E}">
        <p14:creationId xmlns:p14="http://schemas.microsoft.com/office/powerpoint/2010/main" val="29365486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AC1F68-F6B4-6DBE-B3BE-30FECAE43D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8"/>
          <a:stretch/>
        </p:blipFill>
        <p:spPr>
          <a:xfrm>
            <a:off x="0" y="-7348"/>
            <a:ext cx="12205062" cy="6865348"/>
          </a:xfrm>
          <a:prstGeom prst="rect">
            <a:avLst/>
          </a:prstGeom>
        </p:spPr>
      </p:pic>
      <p:sp>
        <p:nvSpPr>
          <p:cNvPr id="3" name="Title 1">
            <a:extLst>
              <a:ext uri="{FF2B5EF4-FFF2-40B4-BE49-F238E27FC236}">
                <a16:creationId xmlns:a16="http://schemas.microsoft.com/office/drawing/2014/main" id="{9A55D349-F51A-48DD-6816-F492818D3190}"/>
              </a:ext>
            </a:extLst>
          </p:cNvPr>
          <p:cNvSpPr>
            <a:spLocks noGrp="1"/>
          </p:cNvSpPr>
          <p:nvPr>
            <p:ph type="title" hasCustomPrompt="1"/>
          </p:nvPr>
        </p:nvSpPr>
        <p:spPr>
          <a:xfrm>
            <a:off x="1090423" y="2520485"/>
            <a:ext cx="10373990" cy="403618"/>
          </a:xfrm>
          <a:prstGeom prst="rect">
            <a:avLst/>
          </a:prstGeom>
          <a:ln>
            <a:noFill/>
          </a:ln>
        </p:spPr>
        <p:txBody>
          <a:bodyPr/>
          <a:lstStyle>
            <a:lvl1pPr marL="0" algn="r" defTabSz="914400" rtl="0" eaLnBrk="1" latinLnBrk="0" hangingPunct="1">
              <a:lnSpc>
                <a:spcPct val="90000"/>
              </a:lnSpc>
              <a:spcBef>
                <a:spcPct val="0"/>
              </a:spcBef>
              <a:buNone/>
              <a:defRPr lang="en-US" sz="3200" b="1" kern="1200" dirty="0">
                <a:solidFill>
                  <a:schemeClr val="bg1"/>
                </a:solidFill>
                <a:latin typeface="Century Gothic" charset="0"/>
                <a:ea typeface="Century Gothic" charset="0"/>
                <a:cs typeface="Century Gothic" charset="0"/>
              </a:defRPr>
            </a:lvl1pPr>
          </a:lstStyle>
          <a:p>
            <a:r>
              <a:rPr lang="en-US" dirty="0"/>
              <a:t>Click to edit Master title style</a:t>
            </a:r>
            <a:br>
              <a:rPr lang="en-US" dirty="0"/>
            </a:br>
            <a:endParaRPr lang="en-US" dirty="0"/>
          </a:p>
        </p:txBody>
      </p:sp>
      <p:grpSp>
        <p:nvGrpSpPr>
          <p:cNvPr id="6" name="Group 5">
            <a:extLst>
              <a:ext uri="{FF2B5EF4-FFF2-40B4-BE49-F238E27FC236}">
                <a16:creationId xmlns:a16="http://schemas.microsoft.com/office/drawing/2014/main" id="{AB46CE6F-32E2-F440-5A21-6EF127AF21E1}"/>
              </a:ext>
            </a:extLst>
          </p:cNvPr>
          <p:cNvGrpSpPr/>
          <p:nvPr userDrawn="1"/>
        </p:nvGrpSpPr>
        <p:grpSpPr>
          <a:xfrm>
            <a:off x="9699812" y="5342840"/>
            <a:ext cx="1764601" cy="1057959"/>
            <a:chOff x="8855996" y="4902858"/>
            <a:chExt cx="2872808" cy="1497942"/>
          </a:xfrm>
        </p:grpSpPr>
        <p:pic>
          <p:nvPicPr>
            <p:cNvPr id="7" name="bg object 20">
              <a:extLst>
                <a:ext uri="{FF2B5EF4-FFF2-40B4-BE49-F238E27FC236}">
                  <a16:creationId xmlns:a16="http://schemas.microsoft.com/office/drawing/2014/main" id="{C78B5B08-0FF6-70DE-7C03-0EC79EE0584E}"/>
                </a:ext>
              </a:extLst>
            </p:cNvPr>
            <p:cNvPicPr/>
            <p:nvPr/>
          </p:nvPicPr>
          <p:blipFill>
            <a:blip r:embed="rId3" cstate="screen">
              <a:extLst>
                <a:ext uri="{28A0092B-C50C-407E-A947-70E740481C1C}">
                  <a14:useLocalDpi xmlns:a14="http://schemas.microsoft.com/office/drawing/2010/main"/>
                </a:ext>
              </a:extLst>
            </a:blip>
            <a:stretch>
              <a:fillRect/>
            </a:stretch>
          </p:blipFill>
          <p:spPr>
            <a:xfrm>
              <a:off x="8855996" y="6102647"/>
              <a:ext cx="120408" cy="81457"/>
            </a:xfrm>
            <a:prstGeom prst="rect">
              <a:avLst/>
            </a:prstGeom>
          </p:spPr>
        </p:pic>
        <p:pic>
          <p:nvPicPr>
            <p:cNvPr id="8" name="bg object 21">
              <a:extLst>
                <a:ext uri="{FF2B5EF4-FFF2-40B4-BE49-F238E27FC236}">
                  <a16:creationId xmlns:a16="http://schemas.microsoft.com/office/drawing/2014/main" id="{EEA7C8BF-46F8-2D96-F4DE-C6259FB9E701}"/>
                </a:ext>
              </a:extLst>
            </p:cNvPr>
            <p:cNvPicPr/>
            <p:nvPr/>
          </p:nvPicPr>
          <p:blipFill>
            <a:blip r:embed="rId4" cstate="screen">
              <a:extLst>
                <a:ext uri="{28A0092B-C50C-407E-A947-70E740481C1C}">
                  <a14:useLocalDpi xmlns:a14="http://schemas.microsoft.com/office/drawing/2010/main"/>
                </a:ext>
              </a:extLst>
            </a:blip>
            <a:stretch>
              <a:fillRect/>
            </a:stretch>
          </p:blipFill>
          <p:spPr>
            <a:xfrm>
              <a:off x="9298849" y="6104763"/>
              <a:ext cx="99580" cy="79349"/>
            </a:xfrm>
            <a:prstGeom prst="rect">
              <a:avLst/>
            </a:prstGeom>
          </p:spPr>
        </p:pic>
        <p:pic>
          <p:nvPicPr>
            <p:cNvPr id="9" name="bg object 22">
              <a:extLst>
                <a:ext uri="{FF2B5EF4-FFF2-40B4-BE49-F238E27FC236}">
                  <a16:creationId xmlns:a16="http://schemas.microsoft.com/office/drawing/2014/main" id="{A5D7819F-2608-A76E-F2C3-B5632DBD6C34}"/>
                </a:ext>
              </a:extLst>
            </p:cNvPr>
            <p:cNvPicPr/>
            <p:nvPr/>
          </p:nvPicPr>
          <p:blipFill>
            <a:blip r:embed="rId5" cstate="screen">
              <a:extLst>
                <a:ext uri="{28A0092B-C50C-407E-A947-70E740481C1C}">
                  <a14:useLocalDpi xmlns:a14="http://schemas.microsoft.com/office/drawing/2010/main"/>
                </a:ext>
              </a:extLst>
            </a:blip>
            <a:stretch>
              <a:fillRect/>
            </a:stretch>
          </p:blipFill>
          <p:spPr>
            <a:xfrm>
              <a:off x="9083585" y="6104735"/>
              <a:ext cx="97193" cy="81432"/>
            </a:xfrm>
            <a:prstGeom prst="rect">
              <a:avLst/>
            </a:prstGeom>
          </p:spPr>
        </p:pic>
        <p:sp>
          <p:nvSpPr>
            <p:cNvPr id="10" name="bg object 23">
              <a:extLst>
                <a:ext uri="{FF2B5EF4-FFF2-40B4-BE49-F238E27FC236}">
                  <a16:creationId xmlns:a16="http://schemas.microsoft.com/office/drawing/2014/main" id="{02010778-DE75-C23D-BA29-6C80750C0CCF}"/>
                </a:ext>
              </a:extLst>
            </p:cNvPr>
            <p:cNvSpPr/>
            <p:nvPr/>
          </p:nvSpPr>
          <p:spPr>
            <a:xfrm>
              <a:off x="9511058" y="6104756"/>
              <a:ext cx="26034" cy="80010"/>
            </a:xfrm>
            <a:custGeom>
              <a:avLst/>
              <a:gdLst/>
              <a:ahLst/>
              <a:cxnLst/>
              <a:rect l="l" t="t" r="r" b="b"/>
              <a:pathLst>
                <a:path w="26034" h="80010">
                  <a:moveTo>
                    <a:pt x="25476" y="0"/>
                  </a:moveTo>
                  <a:lnTo>
                    <a:pt x="0" y="0"/>
                  </a:lnTo>
                  <a:lnTo>
                    <a:pt x="0" y="79362"/>
                  </a:lnTo>
                  <a:lnTo>
                    <a:pt x="25476" y="79413"/>
                  </a:lnTo>
                  <a:lnTo>
                    <a:pt x="25476" y="0"/>
                  </a:lnTo>
                  <a:close/>
                </a:path>
              </a:pathLst>
            </a:custGeom>
            <a:solidFill>
              <a:srgbClr val="002E6E"/>
            </a:solidFill>
          </p:spPr>
          <p:txBody>
            <a:bodyPr wrap="square" lIns="0" tIns="0" rIns="0" bIns="0" rtlCol="0"/>
            <a:lstStyle/>
            <a:p>
              <a:endParaRPr dirty="0"/>
            </a:p>
          </p:txBody>
        </p:sp>
        <p:pic>
          <p:nvPicPr>
            <p:cNvPr id="11" name="bg object 24">
              <a:extLst>
                <a:ext uri="{FF2B5EF4-FFF2-40B4-BE49-F238E27FC236}">
                  <a16:creationId xmlns:a16="http://schemas.microsoft.com/office/drawing/2014/main" id="{C1EEA88F-4902-E5B6-37DF-B4005178607E}"/>
                </a:ext>
              </a:extLst>
            </p:cNvPr>
            <p:cNvPicPr/>
            <p:nvPr/>
          </p:nvPicPr>
          <p:blipFill>
            <a:blip r:embed="rId6" cstate="screen">
              <a:extLst>
                <a:ext uri="{28A0092B-C50C-407E-A947-70E740481C1C}">
                  <a14:useLocalDpi xmlns:a14="http://schemas.microsoft.com/office/drawing/2010/main"/>
                </a:ext>
              </a:extLst>
            </a:blip>
            <a:stretch>
              <a:fillRect/>
            </a:stretch>
          </p:blipFill>
          <p:spPr>
            <a:xfrm>
              <a:off x="9645811" y="6104788"/>
              <a:ext cx="78270" cy="79362"/>
            </a:xfrm>
            <a:prstGeom prst="rect">
              <a:avLst/>
            </a:prstGeom>
          </p:spPr>
        </p:pic>
        <p:pic>
          <p:nvPicPr>
            <p:cNvPr id="12" name="bg object 25">
              <a:extLst>
                <a:ext uri="{FF2B5EF4-FFF2-40B4-BE49-F238E27FC236}">
                  <a16:creationId xmlns:a16="http://schemas.microsoft.com/office/drawing/2014/main" id="{A8BC3F9F-F283-04DB-F07C-B055E7FCABC0}"/>
                </a:ext>
              </a:extLst>
            </p:cNvPr>
            <p:cNvPicPr/>
            <p:nvPr/>
          </p:nvPicPr>
          <p:blipFill>
            <a:blip r:embed="rId7" cstate="screen">
              <a:extLst>
                <a:ext uri="{28A0092B-C50C-407E-A947-70E740481C1C}">
                  <a14:useLocalDpi xmlns:a14="http://schemas.microsoft.com/office/drawing/2010/main"/>
                </a:ext>
              </a:extLst>
            </a:blip>
            <a:stretch>
              <a:fillRect/>
            </a:stretch>
          </p:blipFill>
          <p:spPr>
            <a:xfrm>
              <a:off x="9827255" y="6102720"/>
              <a:ext cx="129451" cy="83553"/>
            </a:xfrm>
            <a:prstGeom prst="rect">
              <a:avLst/>
            </a:prstGeom>
          </p:spPr>
        </p:pic>
        <p:pic>
          <p:nvPicPr>
            <p:cNvPr id="13" name="bg object 26">
              <a:extLst>
                <a:ext uri="{FF2B5EF4-FFF2-40B4-BE49-F238E27FC236}">
                  <a16:creationId xmlns:a16="http://schemas.microsoft.com/office/drawing/2014/main" id="{4BF4FE68-C323-8D6A-CE18-08A9A34362DD}"/>
                </a:ext>
              </a:extLst>
            </p:cNvPr>
            <p:cNvPicPr/>
            <p:nvPr/>
          </p:nvPicPr>
          <p:blipFill>
            <a:blip r:embed="rId8" cstate="screen">
              <a:extLst>
                <a:ext uri="{28A0092B-C50C-407E-A947-70E740481C1C}">
                  <a14:useLocalDpi xmlns:a14="http://schemas.microsoft.com/office/drawing/2010/main"/>
                </a:ext>
              </a:extLst>
            </a:blip>
            <a:stretch>
              <a:fillRect/>
            </a:stretch>
          </p:blipFill>
          <p:spPr>
            <a:xfrm>
              <a:off x="10069293" y="6104802"/>
              <a:ext cx="88468" cy="79387"/>
            </a:xfrm>
            <a:prstGeom prst="rect">
              <a:avLst/>
            </a:prstGeom>
          </p:spPr>
        </p:pic>
        <p:sp>
          <p:nvSpPr>
            <p:cNvPr id="14" name="bg object 27">
              <a:extLst>
                <a:ext uri="{FF2B5EF4-FFF2-40B4-BE49-F238E27FC236}">
                  <a16:creationId xmlns:a16="http://schemas.microsoft.com/office/drawing/2014/main" id="{C0A8D01E-27FB-5512-A65D-EF3A7DC3FE93}"/>
                </a:ext>
              </a:extLst>
            </p:cNvPr>
            <p:cNvSpPr/>
            <p:nvPr/>
          </p:nvSpPr>
          <p:spPr>
            <a:xfrm>
              <a:off x="10264241" y="6144386"/>
              <a:ext cx="42545" cy="12700"/>
            </a:xfrm>
            <a:custGeom>
              <a:avLst/>
              <a:gdLst/>
              <a:ahLst/>
              <a:cxnLst/>
              <a:rect l="l" t="t" r="r" b="b"/>
              <a:pathLst>
                <a:path w="42545" h="12700">
                  <a:moveTo>
                    <a:pt x="42367" y="0"/>
                  </a:moveTo>
                  <a:lnTo>
                    <a:pt x="0" y="0"/>
                  </a:lnTo>
                  <a:lnTo>
                    <a:pt x="0" y="12128"/>
                  </a:lnTo>
                  <a:lnTo>
                    <a:pt x="42367" y="12128"/>
                  </a:lnTo>
                  <a:lnTo>
                    <a:pt x="42367" y="0"/>
                  </a:lnTo>
                  <a:close/>
                </a:path>
              </a:pathLst>
            </a:custGeom>
            <a:solidFill>
              <a:srgbClr val="002E6E"/>
            </a:solidFill>
          </p:spPr>
          <p:txBody>
            <a:bodyPr wrap="square" lIns="0" tIns="0" rIns="0" bIns="0" rtlCol="0"/>
            <a:lstStyle/>
            <a:p>
              <a:endParaRPr dirty="0"/>
            </a:p>
          </p:txBody>
        </p:sp>
        <p:pic>
          <p:nvPicPr>
            <p:cNvPr id="15" name="bg object 28">
              <a:extLst>
                <a:ext uri="{FF2B5EF4-FFF2-40B4-BE49-F238E27FC236}">
                  <a16:creationId xmlns:a16="http://schemas.microsoft.com/office/drawing/2014/main" id="{4D1B07F4-4D21-9838-2D0D-69672EA4F808}"/>
                </a:ext>
              </a:extLst>
            </p:cNvPr>
            <p:cNvPicPr/>
            <p:nvPr/>
          </p:nvPicPr>
          <p:blipFill>
            <a:blip r:embed="rId9" cstate="screen">
              <a:extLst>
                <a:ext uri="{28A0092B-C50C-407E-A947-70E740481C1C}">
                  <a14:useLocalDpi xmlns:a14="http://schemas.microsoft.com/office/drawing/2010/main"/>
                </a:ext>
              </a:extLst>
            </a:blip>
            <a:stretch>
              <a:fillRect/>
            </a:stretch>
          </p:blipFill>
          <p:spPr>
            <a:xfrm>
              <a:off x="10417230" y="6102742"/>
              <a:ext cx="121831" cy="83553"/>
            </a:xfrm>
            <a:prstGeom prst="rect">
              <a:avLst/>
            </a:prstGeom>
          </p:spPr>
        </p:pic>
        <p:pic>
          <p:nvPicPr>
            <p:cNvPr id="16" name="bg object 29">
              <a:extLst>
                <a:ext uri="{FF2B5EF4-FFF2-40B4-BE49-F238E27FC236}">
                  <a16:creationId xmlns:a16="http://schemas.microsoft.com/office/drawing/2014/main" id="{80080F1E-DE29-000D-2DE6-CFA0A7D3D6B7}"/>
                </a:ext>
              </a:extLst>
            </p:cNvPr>
            <p:cNvPicPr/>
            <p:nvPr/>
          </p:nvPicPr>
          <p:blipFill>
            <a:blip r:embed="rId10" cstate="screen">
              <a:extLst>
                <a:ext uri="{28A0092B-C50C-407E-A947-70E740481C1C}">
                  <a14:useLocalDpi xmlns:a14="http://schemas.microsoft.com/office/drawing/2010/main"/>
                </a:ext>
              </a:extLst>
            </a:blip>
            <a:stretch>
              <a:fillRect/>
            </a:stretch>
          </p:blipFill>
          <p:spPr>
            <a:xfrm>
              <a:off x="10651768" y="6104832"/>
              <a:ext cx="67665" cy="79375"/>
            </a:xfrm>
            <a:prstGeom prst="rect">
              <a:avLst/>
            </a:prstGeom>
          </p:spPr>
        </p:pic>
        <p:pic>
          <p:nvPicPr>
            <p:cNvPr id="17" name="bg object 30">
              <a:extLst>
                <a:ext uri="{FF2B5EF4-FFF2-40B4-BE49-F238E27FC236}">
                  <a16:creationId xmlns:a16="http://schemas.microsoft.com/office/drawing/2014/main" id="{319A13E2-8919-230C-E818-12A3D33A77AE}"/>
                </a:ext>
              </a:extLst>
            </p:cNvPr>
            <p:cNvPicPr/>
            <p:nvPr/>
          </p:nvPicPr>
          <p:blipFill>
            <a:blip r:embed="rId11" cstate="screen">
              <a:extLst>
                <a:ext uri="{28A0092B-C50C-407E-A947-70E740481C1C}">
                  <a14:useLocalDpi xmlns:a14="http://schemas.microsoft.com/office/drawing/2010/main"/>
                </a:ext>
              </a:extLst>
            </a:blip>
            <a:stretch>
              <a:fillRect/>
            </a:stretch>
          </p:blipFill>
          <p:spPr>
            <a:xfrm>
              <a:off x="10836457" y="6102751"/>
              <a:ext cx="113156" cy="83045"/>
            </a:xfrm>
            <a:prstGeom prst="rect">
              <a:avLst/>
            </a:prstGeom>
          </p:spPr>
        </p:pic>
        <p:pic>
          <p:nvPicPr>
            <p:cNvPr id="18" name="bg object 31">
              <a:extLst>
                <a:ext uri="{FF2B5EF4-FFF2-40B4-BE49-F238E27FC236}">
                  <a16:creationId xmlns:a16="http://schemas.microsoft.com/office/drawing/2014/main" id="{7F11490F-3BD7-36BD-ACBA-91BC06A5AC3F}"/>
                </a:ext>
              </a:extLst>
            </p:cNvPr>
            <p:cNvPicPr/>
            <p:nvPr/>
          </p:nvPicPr>
          <p:blipFill>
            <a:blip r:embed="rId12" cstate="screen">
              <a:extLst>
                <a:ext uri="{28A0092B-C50C-407E-A947-70E740481C1C}">
                  <a14:useLocalDpi xmlns:a14="http://schemas.microsoft.com/office/drawing/2010/main"/>
                </a:ext>
              </a:extLst>
            </a:blip>
            <a:stretch>
              <a:fillRect/>
            </a:stretch>
          </p:blipFill>
          <p:spPr>
            <a:xfrm>
              <a:off x="11068212" y="6104895"/>
              <a:ext cx="67691" cy="79336"/>
            </a:xfrm>
            <a:prstGeom prst="rect">
              <a:avLst/>
            </a:prstGeom>
          </p:spPr>
        </p:pic>
        <p:pic>
          <p:nvPicPr>
            <p:cNvPr id="19" name="bg object 32">
              <a:extLst>
                <a:ext uri="{FF2B5EF4-FFF2-40B4-BE49-F238E27FC236}">
                  <a16:creationId xmlns:a16="http://schemas.microsoft.com/office/drawing/2014/main" id="{A37F5FE8-172D-42A5-74DC-FDF8ABB32F6C}"/>
                </a:ext>
              </a:extLst>
            </p:cNvPr>
            <p:cNvPicPr/>
            <p:nvPr/>
          </p:nvPicPr>
          <p:blipFill>
            <a:blip r:embed="rId13" cstate="screen">
              <a:extLst>
                <a:ext uri="{28A0092B-C50C-407E-A947-70E740481C1C}">
                  <a14:useLocalDpi xmlns:a14="http://schemas.microsoft.com/office/drawing/2010/main"/>
                </a:ext>
              </a:extLst>
            </a:blip>
            <a:stretch>
              <a:fillRect/>
            </a:stretch>
          </p:blipFill>
          <p:spPr>
            <a:xfrm>
              <a:off x="11252978" y="6104909"/>
              <a:ext cx="88480" cy="79362"/>
            </a:xfrm>
            <a:prstGeom prst="rect">
              <a:avLst/>
            </a:prstGeom>
          </p:spPr>
        </p:pic>
        <p:pic>
          <p:nvPicPr>
            <p:cNvPr id="20" name="bg object 33">
              <a:extLst>
                <a:ext uri="{FF2B5EF4-FFF2-40B4-BE49-F238E27FC236}">
                  <a16:creationId xmlns:a16="http://schemas.microsoft.com/office/drawing/2014/main" id="{2095024D-C857-B3A0-39E5-296E4F75AE8A}"/>
                </a:ext>
              </a:extLst>
            </p:cNvPr>
            <p:cNvPicPr/>
            <p:nvPr/>
          </p:nvPicPr>
          <p:blipFill>
            <a:blip r:embed="rId14" cstate="screen">
              <a:extLst>
                <a:ext uri="{28A0092B-C50C-407E-A947-70E740481C1C}">
                  <a14:useLocalDpi xmlns:a14="http://schemas.microsoft.com/office/drawing/2010/main"/>
                </a:ext>
              </a:extLst>
            </a:blip>
            <a:stretch>
              <a:fillRect/>
            </a:stretch>
          </p:blipFill>
          <p:spPr>
            <a:xfrm>
              <a:off x="11438938" y="6102833"/>
              <a:ext cx="120408" cy="81432"/>
            </a:xfrm>
            <a:prstGeom prst="rect">
              <a:avLst/>
            </a:prstGeom>
          </p:spPr>
        </p:pic>
        <p:sp>
          <p:nvSpPr>
            <p:cNvPr id="21" name="bg object 34">
              <a:extLst>
                <a:ext uri="{FF2B5EF4-FFF2-40B4-BE49-F238E27FC236}">
                  <a16:creationId xmlns:a16="http://schemas.microsoft.com/office/drawing/2014/main" id="{BFFB391B-DB77-3357-2917-E11AB9C01406}"/>
                </a:ext>
              </a:extLst>
            </p:cNvPr>
            <p:cNvSpPr/>
            <p:nvPr/>
          </p:nvSpPr>
          <p:spPr>
            <a:xfrm>
              <a:off x="11667210" y="6104944"/>
              <a:ext cx="61594" cy="79375"/>
            </a:xfrm>
            <a:custGeom>
              <a:avLst/>
              <a:gdLst/>
              <a:ahLst/>
              <a:cxnLst/>
              <a:rect l="l" t="t" r="r" b="b"/>
              <a:pathLst>
                <a:path w="61595" h="79375">
                  <a:moveTo>
                    <a:pt x="25488" y="0"/>
                  </a:moveTo>
                  <a:lnTo>
                    <a:pt x="0" y="0"/>
                  </a:lnTo>
                  <a:lnTo>
                    <a:pt x="0" y="79336"/>
                  </a:lnTo>
                  <a:lnTo>
                    <a:pt x="61594" y="79336"/>
                  </a:lnTo>
                  <a:lnTo>
                    <a:pt x="61594" y="65900"/>
                  </a:lnTo>
                  <a:lnTo>
                    <a:pt x="25488" y="65900"/>
                  </a:lnTo>
                  <a:lnTo>
                    <a:pt x="25488" y="0"/>
                  </a:lnTo>
                  <a:close/>
                </a:path>
              </a:pathLst>
            </a:custGeom>
            <a:solidFill>
              <a:srgbClr val="002E6E"/>
            </a:solidFill>
          </p:spPr>
          <p:txBody>
            <a:bodyPr wrap="square" lIns="0" tIns="0" rIns="0" bIns="0" rtlCol="0"/>
            <a:lstStyle/>
            <a:p>
              <a:endParaRPr dirty="0"/>
            </a:p>
          </p:txBody>
        </p:sp>
        <p:sp>
          <p:nvSpPr>
            <p:cNvPr id="22" name="bg object 35">
              <a:extLst>
                <a:ext uri="{FF2B5EF4-FFF2-40B4-BE49-F238E27FC236}">
                  <a16:creationId xmlns:a16="http://schemas.microsoft.com/office/drawing/2014/main" id="{D67C7133-EA34-0512-CF9B-681970BC4209}"/>
                </a:ext>
              </a:extLst>
            </p:cNvPr>
            <p:cNvSpPr/>
            <p:nvPr/>
          </p:nvSpPr>
          <p:spPr>
            <a:xfrm>
              <a:off x="9615094" y="5254891"/>
              <a:ext cx="1346835" cy="575945"/>
            </a:xfrm>
            <a:custGeom>
              <a:avLst/>
              <a:gdLst/>
              <a:ahLst/>
              <a:cxnLst/>
              <a:rect l="l" t="t" r="r" b="b"/>
              <a:pathLst>
                <a:path w="1346834" h="575945">
                  <a:moveTo>
                    <a:pt x="500697" y="82600"/>
                  </a:moveTo>
                  <a:lnTo>
                    <a:pt x="472389" y="56705"/>
                  </a:lnTo>
                  <a:lnTo>
                    <a:pt x="462864" y="55041"/>
                  </a:lnTo>
                  <a:lnTo>
                    <a:pt x="455104" y="56248"/>
                  </a:lnTo>
                  <a:lnTo>
                    <a:pt x="450138" y="60363"/>
                  </a:lnTo>
                  <a:lnTo>
                    <a:pt x="449059" y="66738"/>
                  </a:lnTo>
                  <a:lnTo>
                    <a:pt x="451891" y="74079"/>
                  </a:lnTo>
                  <a:lnTo>
                    <a:pt x="458076" y="81508"/>
                  </a:lnTo>
                  <a:lnTo>
                    <a:pt x="467080" y="88150"/>
                  </a:lnTo>
                  <a:lnTo>
                    <a:pt x="477342" y="92646"/>
                  </a:lnTo>
                  <a:lnTo>
                    <a:pt x="486879" y="94297"/>
                  </a:lnTo>
                  <a:lnTo>
                    <a:pt x="494652" y="93078"/>
                  </a:lnTo>
                  <a:lnTo>
                    <a:pt x="499618" y="88963"/>
                  </a:lnTo>
                  <a:lnTo>
                    <a:pt x="500697" y="82600"/>
                  </a:lnTo>
                  <a:close/>
                </a:path>
                <a:path w="1346834" h="575945">
                  <a:moveTo>
                    <a:pt x="1346377" y="282803"/>
                  </a:moveTo>
                  <a:lnTo>
                    <a:pt x="1331620" y="221462"/>
                  </a:lnTo>
                  <a:lnTo>
                    <a:pt x="1289367" y="164579"/>
                  </a:lnTo>
                  <a:lnTo>
                    <a:pt x="1258874" y="138226"/>
                  </a:lnTo>
                  <a:lnTo>
                    <a:pt x="1222667" y="113499"/>
                  </a:lnTo>
                  <a:lnTo>
                    <a:pt x="1181087" y="90551"/>
                  </a:lnTo>
                  <a:lnTo>
                    <a:pt x="1134541" y="69583"/>
                  </a:lnTo>
                  <a:lnTo>
                    <a:pt x="1083411" y="50723"/>
                  </a:lnTo>
                  <a:lnTo>
                    <a:pt x="1028065" y="34175"/>
                  </a:lnTo>
                  <a:lnTo>
                    <a:pt x="968895" y="20091"/>
                  </a:lnTo>
                  <a:lnTo>
                    <a:pt x="906259" y="8648"/>
                  </a:lnTo>
                  <a:lnTo>
                    <a:pt x="840562" y="0"/>
                  </a:lnTo>
                  <a:lnTo>
                    <a:pt x="902233" y="14376"/>
                  </a:lnTo>
                  <a:lnTo>
                    <a:pt x="958926" y="31851"/>
                  </a:lnTo>
                  <a:lnTo>
                    <a:pt x="1010056" y="52158"/>
                  </a:lnTo>
                  <a:lnTo>
                    <a:pt x="1055001" y="75044"/>
                  </a:lnTo>
                  <a:lnTo>
                    <a:pt x="1093152" y="100241"/>
                  </a:lnTo>
                  <a:lnTo>
                    <a:pt x="1123886" y="127495"/>
                  </a:lnTo>
                  <a:lnTo>
                    <a:pt x="1160665" y="187058"/>
                  </a:lnTo>
                  <a:lnTo>
                    <a:pt x="1165491" y="218859"/>
                  </a:lnTo>
                  <a:lnTo>
                    <a:pt x="1161732" y="246964"/>
                  </a:lnTo>
                  <a:lnTo>
                    <a:pt x="1132903" y="300113"/>
                  </a:lnTo>
                  <a:lnTo>
                    <a:pt x="1078471" y="348018"/>
                  </a:lnTo>
                  <a:lnTo>
                    <a:pt x="1042695" y="369544"/>
                  </a:lnTo>
                  <a:lnTo>
                    <a:pt x="1001776" y="389216"/>
                  </a:lnTo>
                  <a:lnTo>
                    <a:pt x="956132" y="406857"/>
                  </a:lnTo>
                  <a:lnTo>
                    <a:pt x="906170" y="422275"/>
                  </a:lnTo>
                  <a:lnTo>
                    <a:pt x="852335" y="435292"/>
                  </a:lnTo>
                  <a:lnTo>
                    <a:pt x="795032" y="445731"/>
                  </a:lnTo>
                  <a:lnTo>
                    <a:pt x="734669" y="453415"/>
                  </a:lnTo>
                  <a:lnTo>
                    <a:pt x="671690" y="458165"/>
                  </a:lnTo>
                  <a:lnTo>
                    <a:pt x="606488" y="459778"/>
                  </a:lnTo>
                  <a:lnTo>
                    <a:pt x="541299" y="458165"/>
                  </a:lnTo>
                  <a:lnTo>
                    <a:pt x="478320" y="453415"/>
                  </a:lnTo>
                  <a:lnTo>
                    <a:pt x="417969" y="445731"/>
                  </a:lnTo>
                  <a:lnTo>
                    <a:pt x="360654" y="435292"/>
                  </a:lnTo>
                  <a:lnTo>
                    <a:pt x="306819" y="422275"/>
                  </a:lnTo>
                  <a:lnTo>
                    <a:pt x="256870" y="406857"/>
                  </a:lnTo>
                  <a:lnTo>
                    <a:pt x="211213" y="389216"/>
                  </a:lnTo>
                  <a:lnTo>
                    <a:pt x="170294" y="369544"/>
                  </a:lnTo>
                  <a:lnTo>
                    <a:pt x="134518" y="348018"/>
                  </a:lnTo>
                  <a:lnTo>
                    <a:pt x="80073" y="300113"/>
                  </a:lnTo>
                  <a:lnTo>
                    <a:pt x="51244" y="246964"/>
                  </a:lnTo>
                  <a:lnTo>
                    <a:pt x="47485" y="218859"/>
                  </a:lnTo>
                  <a:lnTo>
                    <a:pt x="48793" y="202323"/>
                  </a:lnTo>
                  <a:lnTo>
                    <a:pt x="52628" y="186093"/>
                  </a:lnTo>
                  <a:lnTo>
                    <a:pt x="58928" y="170180"/>
                  </a:lnTo>
                  <a:lnTo>
                    <a:pt x="67576" y="154622"/>
                  </a:lnTo>
                  <a:lnTo>
                    <a:pt x="38773" y="184505"/>
                  </a:lnTo>
                  <a:lnTo>
                    <a:pt x="17564" y="215976"/>
                  </a:lnTo>
                  <a:lnTo>
                    <a:pt x="4483" y="248818"/>
                  </a:lnTo>
                  <a:lnTo>
                    <a:pt x="0" y="282803"/>
                  </a:lnTo>
                  <a:lnTo>
                    <a:pt x="3086" y="311035"/>
                  </a:lnTo>
                  <a:lnTo>
                    <a:pt x="26885" y="365086"/>
                  </a:lnTo>
                  <a:lnTo>
                    <a:pt x="72339" y="415124"/>
                  </a:lnTo>
                  <a:lnTo>
                    <a:pt x="137172" y="460171"/>
                  </a:lnTo>
                  <a:lnTo>
                    <a:pt x="176149" y="480504"/>
                  </a:lnTo>
                  <a:lnTo>
                    <a:pt x="219138" y="499224"/>
                  </a:lnTo>
                  <a:lnTo>
                    <a:pt x="265836" y="516204"/>
                  </a:lnTo>
                  <a:lnTo>
                    <a:pt x="315976" y="531304"/>
                  </a:lnTo>
                  <a:lnTo>
                    <a:pt x="369265" y="544436"/>
                  </a:lnTo>
                  <a:lnTo>
                    <a:pt x="425424" y="555447"/>
                  </a:lnTo>
                  <a:lnTo>
                    <a:pt x="484187" y="564222"/>
                  </a:lnTo>
                  <a:lnTo>
                    <a:pt x="545249" y="570649"/>
                  </a:lnTo>
                  <a:lnTo>
                    <a:pt x="608330" y="574598"/>
                  </a:lnTo>
                  <a:lnTo>
                    <a:pt x="673163" y="575932"/>
                  </a:lnTo>
                  <a:lnTo>
                    <a:pt x="738009" y="574598"/>
                  </a:lnTo>
                  <a:lnTo>
                    <a:pt x="801103" y="570649"/>
                  </a:lnTo>
                  <a:lnTo>
                    <a:pt x="862164" y="564222"/>
                  </a:lnTo>
                  <a:lnTo>
                    <a:pt x="920927" y="555447"/>
                  </a:lnTo>
                  <a:lnTo>
                    <a:pt x="977099" y="544436"/>
                  </a:lnTo>
                  <a:lnTo>
                    <a:pt x="1030389" y="531304"/>
                  </a:lnTo>
                  <a:lnTo>
                    <a:pt x="1080528" y="516204"/>
                  </a:lnTo>
                  <a:lnTo>
                    <a:pt x="1127239" y="499224"/>
                  </a:lnTo>
                  <a:lnTo>
                    <a:pt x="1170216" y="480504"/>
                  </a:lnTo>
                  <a:lnTo>
                    <a:pt x="1209205" y="460171"/>
                  </a:lnTo>
                  <a:lnTo>
                    <a:pt x="1243901" y="438340"/>
                  </a:lnTo>
                  <a:lnTo>
                    <a:pt x="1299337" y="390677"/>
                  </a:lnTo>
                  <a:lnTo>
                    <a:pt x="1334249" y="338505"/>
                  </a:lnTo>
                  <a:lnTo>
                    <a:pt x="1343304" y="311035"/>
                  </a:lnTo>
                  <a:lnTo>
                    <a:pt x="1346377" y="282803"/>
                  </a:lnTo>
                  <a:close/>
                </a:path>
              </a:pathLst>
            </a:custGeom>
            <a:solidFill>
              <a:srgbClr val="002E6E"/>
            </a:solidFill>
          </p:spPr>
          <p:txBody>
            <a:bodyPr wrap="square" lIns="0" tIns="0" rIns="0" bIns="0" rtlCol="0"/>
            <a:lstStyle/>
            <a:p>
              <a:endParaRPr dirty="0"/>
            </a:p>
          </p:txBody>
        </p:sp>
        <p:sp>
          <p:nvSpPr>
            <p:cNvPr id="23" name="bg object 36">
              <a:extLst>
                <a:ext uri="{FF2B5EF4-FFF2-40B4-BE49-F238E27FC236}">
                  <a16:creationId xmlns:a16="http://schemas.microsoft.com/office/drawing/2014/main" id="{C874C167-EEDE-5AB0-C467-915EE16DC008}"/>
                </a:ext>
              </a:extLst>
            </p:cNvPr>
            <p:cNvSpPr/>
            <p:nvPr/>
          </p:nvSpPr>
          <p:spPr>
            <a:xfrm>
              <a:off x="10176852" y="4940649"/>
              <a:ext cx="192405" cy="146050"/>
            </a:xfrm>
            <a:custGeom>
              <a:avLst/>
              <a:gdLst/>
              <a:ahLst/>
              <a:cxnLst/>
              <a:rect l="l" t="t" r="r" b="b"/>
              <a:pathLst>
                <a:path w="192404" h="146050">
                  <a:moveTo>
                    <a:pt x="51370" y="0"/>
                  </a:moveTo>
                  <a:lnTo>
                    <a:pt x="22492" y="4514"/>
                  </a:lnTo>
                  <a:lnTo>
                    <a:pt x="4045" y="19802"/>
                  </a:lnTo>
                  <a:lnTo>
                    <a:pt x="0" y="43459"/>
                  </a:lnTo>
                  <a:lnTo>
                    <a:pt x="10514" y="70759"/>
                  </a:lnTo>
                  <a:lnTo>
                    <a:pt x="33561" y="98371"/>
                  </a:lnTo>
                  <a:lnTo>
                    <a:pt x="67113" y="122964"/>
                  </a:lnTo>
                  <a:lnTo>
                    <a:pt x="105156" y="139705"/>
                  </a:lnTo>
                  <a:lnTo>
                    <a:pt x="140576" y="145862"/>
                  </a:lnTo>
                  <a:lnTo>
                    <a:pt x="169472" y="141341"/>
                  </a:lnTo>
                  <a:lnTo>
                    <a:pt x="187941" y="126050"/>
                  </a:lnTo>
                  <a:lnTo>
                    <a:pt x="191954" y="102398"/>
                  </a:lnTo>
                  <a:lnTo>
                    <a:pt x="181432" y="75107"/>
                  </a:lnTo>
                  <a:lnTo>
                    <a:pt x="158394" y="47497"/>
                  </a:lnTo>
                  <a:lnTo>
                    <a:pt x="124860" y="22888"/>
                  </a:lnTo>
                  <a:lnTo>
                    <a:pt x="86789" y="6157"/>
                  </a:lnTo>
                  <a:lnTo>
                    <a:pt x="51370" y="0"/>
                  </a:lnTo>
                  <a:close/>
                </a:path>
              </a:pathLst>
            </a:custGeom>
            <a:solidFill>
              <a:srgbClr val="00A88E"/>
            </a:solidFill>
          </p:spPr>
          <p:txBody>
            <a:bodyPr wrap="square" lIns="0" tIns="0" rIns="0" bIns="0" rtlCol="0"/>
            <a:lstStyle/>
            <a:p>
              <a:endParaRPr dirty="0"/>
            </a:p>
          </p:txBody>
        </p:sp>
        <p:sp>
          <p:nvSpPr>
            <p:cNvPr id="24" name="bg object 37">
              <a:extLst>
                <a:ext uri="{FF2B5EF4-FFF2-40B4-BE49-F238E27FC236}">
                  <a16:creationId xmlns:a16="http://schemas.microsoft.com/office/drawing/2014/main" id="{047276B3-5B94-9A7B-D310-00B8F1E122F6}"/>
                </a:ext>
              </a:extLst>
            </p:cNvPr>
            <p:cNvSpPr/>
            <p:nvPr/>
          </p:nvSpPr>
          <p:spPr>
            <a:xfrm>
              <a:off x="10130980" y="5104840"/>
              <a:ext cx="125095" cy="95250"/>
            </a:xfrm>
            <a:custGeom>
              <a:avLst/>
              <a:gdLst/>
              <a:ahLst/>
              <a:cxnLst/>
              <a:rect l="l" t="t" r="r" b="b"/>
              <a:pathLst>
                <a:path w="125095" h="95250">
                  <a:moveTo>
                    <a:pt x="33409" y="0"/>
                  </a:moveTo>
                  <a:lnTo>
                    <a:pt x="14618" y="2948"/>
                  </a:lnTo>
                  <a:lnTo>
                    <a:pt x="2604" y="12904"/>
                  </a:lnTo>
                  <a:lnTo>
                    <a:pt x="0" y="28286"/>
                  </a:lnTo>
                  <a:lnTo>
                    <a:pt x="6850" y="46020"/>
                  </a:lnTo>
                  <a:lnTo>
                    <a:pt x="21833" y="63954"/>
                  </a:lnTo>
                  <a:lnTo>
                    <a:pt x="43625" y="79935"/>
                  </a:lnTo>
                  <a:lnTo>
                    <a:pt x="68375" y="90823"/>
                  </a:lnTo>
                  <a:lnTo>
                    <a:pt x="91402" y="94830"/>
                  </a:lnTo>
                  <a:lnTo>
                    <a:pt x="110161" y="91892"/>
                  </a:lnTo>
                  <a:lnTo>
                    <a:pt x="122111" y="81941"/>
                  </a:lnTo>
                  <a:lnTo>
                    <a:pt x="124755" y="66564"/>
                  </a:lnTo>
                  <a:lnTo>
                    <a:pt x="117932" y="48825"/>
                  </a:lnTo>
                  <a:lnTo>
                    <a:pt x="102965" y="30883"/>
                  </a:lnTo>
                  <a:lnTo>
                    <a:pt x="81178" y="14898"/>
                  </a:lnTo>
                  <a:lnTo>
                    <a:pt x="56441" y="4001"/>
                  </a:lnTo>
                  <a:lnTo>
                    <a:pt x="33409" y="0"/>
                  </a:lnTo>
                  <a:close/>
                </a:path>
              </a:pathLst>
            </a:custGeom>
            <a:solidFill>
              <a:srgbClr val="002E6E"/>
            </a:solidFill>
          </p:spPr>
          <p:txBody>
            <a:bodyPr wrap="square" lIns="0" tIns="0" rIns="0" bIns="0" rtlCol="0"/>
            <a:lstStyle/>
            <a:p>
              <a:endParaRPr dirty="0"/>
            </a:p>
          </p:txBody>
        </p:sp>
        <p:pic>
          <p:nvPicPr>
            <p:cNvPr id="25" name="bg object 38">
              <a:extLst>
                <a:ext uri="{FF2B5EF4-FFF2-40B4-BE49-F238E27FC236}">
                  <a16:creationId xmlns:a16="http://schemas.microsoft.com/office/drawing/2014/main" id="{200325C6-A12D-619C-A0C5-26592D73C2CF}"/>
                </a:ext>
              </a:extLst>
            </p:cNvPr>
            <p:cNvPicPr/>
            <p:nvPr/>
          </p:nvPicPr>
          <p:blipFill>
            <a:blip r:embed="rId15" cstate="screen">
              <a:extLst>
                <a:ext uri="{28A0092B-C50C-407E-A947-70E740481C1C}">
                  <a14:useLocalDpi xmlns:a14="http://schemas.microsoft.com/office/drawing/2010/main"/>
                </a:ext>
              </a:extLst>
            </a:blip>
            <a:stretch>
              <a:fillRect/>
            </a:stretch>
          </p:blipFill>
          <p:spPr>
            <a:xfrm>
              <a:off x="10090597" y="5220781"/>
              <a:ext cx="86053" cy="65406"/>
            </a:xfrm>
            <a:prstGeom prst="rect">
              <a:avLst/>
            </a:prstGeom>
          </p:spPr>
        </p:pic>
        <p:sp>
          <p:nvSpPr>
            <p:cNvPr id="26" name="bg object 39">
              <a:extLst>
                <a:ext uri="{FF2B5EF4-FFF2-40B4-BE49-F238E27FC236}">
                  <a16:creationId xmlns:a16="http://schemas.microsoft.com/office/drawing/2014/main" id="{8FF1F604-83B7-8B77-95CB-64A8445ED14B}"/>
                </a:ext>
              </a:extLst>
            </p:cNvPr>
            <p:cNvSpPr/>
            <p:nvPr/>
          </p:nvSpPr>
          <p:spPr>
            <a:xfrm>
              <a:off x="10118708" y="4902858"/>
              <a:ext cx="52705" cy="38735"/>
            </a:xfrm>
            <a:custGeom>
              <a:avLst/>
              <a:gdLst/>
              <a:ahLst/>
              <a:cxnLst/>
              <a:rect l="l" t="t" r="r" b="b"/>
              <a:pathLst>
                <a:path w="52704" h="38735">
                  <a:moveTo>
                    <a:pt x="15172" y="0"/>
                  </a:moveTo>
                  <a:lnTo>
                    <a:pt x="6999" y="995"/>
                  </a:lnTo>
                  <a:lnTo>
                    <a:pt x="1537" y="4841"/>
                  </a:lnTo>
                  <a:lnTo>
                    <a:pt x="0" y="10938"/>
                  </a:lnTo>
                  <a:lnTo>
                    <a:pt x="2447" y="18057"/>
                  </a:lnTo>
                  <a:lnTo>
                    <a:pt x="8383" y="25331"/>
                  </a:lnTo>
                  <a:lnTo>
                    <a:pt x="17311" y="31892"/>
                  </a:lnTo>
                  <a:lnTo>
                    <a:pt x="27650" y="36458"/>
                  </a:lnTo>
                  <a:lnTo>
                    <a:pt x="37435" y="38260"/>
                  </a:lnTo>
                  <a:lnTo>
                    <a:pt x="45594" y="37259"/>
                  </a:lnTo>
                  <a:lnTo>
                    <a:pt x="51054" y="33416"/>
                  </a:lnTo>
                  <a:lnTo>
                    <a:pt x="52607" y="27327"/>
                  </a:lnTo>
                  <a:lnTo>
                    <a:pt x="50156" y="20212"/>
                  </a:lnTo>
                  <a:lnTo>
                    <a:pt x="44214" y="12939"/>
                  </a:lnTo>
                  <a:lnTo>
                    <a:pt x="35294" y="6378"/>
                  </a:lnTo>
                  <a:lnTo>
                    <a:pt x="24967" y="1809"/>
                  </a:lnTo>
                  <a:lnTo>
                    <a:pt x="15172" y="0"/>
                  </a:lnTo>
                  <a:close/>
                </a:path>
              </a:pathLst>
            </a:custGeom>
            <a:solidFill>
              <a:srgbClr val="002E6E"/>
            </a:solidFill>
          </p:spPr>
          <p:txBody>
            <a:bodyPr wrap="square" lIns="0" tIns="0" rIns="0" bIns="0" rtlCol="0"/>
            <a:lstStyle/>
            <a:p>
              <a:endParaRPr dirty="0"/>
            </a:p>
          </p:txBody>
        </p:sp>
        <p:sp>
          <p:nvSpPr>
            <p:cNvPr id="27" name="bg object 40">
              <a:extLst>
                <a:ext uri="{FF2B5EF4-FFF2-40B4-BE49-F238E27FC236}">
                  <a16:creationId xmlns:a16="http://schemas.microsoft.com/office/drawing/2014/main" id="{587902F9-C3B2-26BB-6950-DAA946E9F404}"/>
                </a:ext>
              </a:extLst>
            </p:cNvPr>
            <p:cNvSpPr/>
            <p:nvPr/>
          </p:nvSpPr>
          <p:spPr>
            <a:xfrm>
              <a:off x="9735908" y="5090885"/>
              <a:ext cx="195580" cy="142240"/>
            </a:xfrm>
            <a:custGeom>
              <a:avLst/>
              <a:gdLst/>
              <a:ahLst/>
              <a:cxnLst/>
              <a:rect l="l" t="t" r="r" b="b"/>
              <a:pathLst>
                <a:path w="195579" h="142239">
                  <a:moveTo>
                    <a:pt x="56323" y="0"/>
                  </a:moveTo>
                  <a:lnTo>
                    <a:pt x="25997" y="3690"/>
                  </a:lnTo>
                  <a:lnTo>
                    <a:pt x="5767" y="17973"/>
                  </a:lnTo>
                  <a:lnTo>
                    <a:pt x="0" y="40630"/>
                  </a:lnTo>
                  <a:lnTo>
                    <a:pt x="9090" y="67103"/>
                  </a:lnTo>
                  <a:lnTo>
                    <a:pt x="31165" y="94158"/>
                  </a:lnTo>
                  <a:lnTo>
                    <a:pt x="64352" y="118557"/>
                  </a:lnTo>
                  <a:lnTo>
                    <a:pt x="102776" y="135485"/>
                  </a:lnTo>
                  <a:lnTo>
                    <a:pt x="139162" y="142193"/>
                  </a:lnTo>
                  <a:lnTo>
                    <a:pt x="169480" y="138494"/>
                  </a:lnTo>
                  <a:lnTo>
                    <a:pt x="189701" y="124196"/>
                  </a:lnTo>
                  <a:lnTo>
                    <a:pt x="195470" y="101563"/>
                  </a:lnTo>
                  <a:lnTo>
                    <a:pt x="186375" y="75104"/>
                  </a:lnTo>
                  <a:lnTo>
                    <a:pt x="164311" y="48054"/>
                  </a:lnTo>
                  <a:lnTo>
                    <a:pt x="131167" y="23650"/>
                  </a:lnTo>
                  <a:lnTo>
                    <a:pt x="92721" y="6715"/>
                  </a:lnTo>
                  <a:lnTo>
                    <a:pt x="56323" y="0"/>
                  </a:lnTo>
                  <a:close/>
                </a:path>
              </a:pathLst>
            </a:custGeom>
            <a:solidFill>
              <a:srgbClr val="00A88E"/>
            </a:solidFill>
          </p:spPr>
          <p:txBody>
            <a:bodyPr wrap="square" lIns="0" tIns="0" rIns="0" bIns="0" rtlCol="0"/>
            <a:lstStyle/>
            <a:p>
              <a:endParaRPr dirty="0"/>
            </a:p>
          </p:txBody>
        </p:sp>
        <p:sp>
          <p:nvSpPr>
            <p:cNvPr id="28" name="bg object 41">
              <a:extLst>
                <a:ext uri="{FF2B5EF4-FFF2-40B4-BE49-F238E27FC236}">
                  <a16:creationId xmlns:a16="http://schemas.microsoft.com/office/drawing/2014/main" id="{6F1E5215-5F0C-AB2D-44F1-32E756B86937}"/>
                </a:ext>
              </a:extLst>
            </p:cNvPr>
            <p:cNvSpPr/>
            <p:nvPr/>
          </p:nvSpPr>
          <p:spPr>
            <a:xfrm>
              <a:off x="9908641" y="4949215"/>
              <a:ext cx="204470" cy="158115"/>
            </a:xfrm>
            <a:custGeom>
              <a:avLst/>
              <a:gdLst/>
              <a:ahLst/>
              <a:cxnLst/>
              <a:rect l="l" t="t" r="r" b="b"/>
              <a:pathLst>
                <a:path w="204470" h="158114">
                  <a:moveTo>
                    <a:pt x="127025" y="131597"/>
                  </a:moveTo>
                  <a:lnTo>
                    <a:pt x="106781" y="96799"/>
                  </a:lnTo>
                  <a:lnTo>
                    <a:pt x="60248" y="69913"/>
                  </a:lnTo>
                  <a:lnTo>
                    <a:pt x="36588" y="65557"/>
                  </a:lnTo>
                  <a:lnTo>
                    <a:pt x="16891" y="67957"/>
                  </a:lnTo>
                  <a:lnTo>
                    <a:pt x="3771" y="77254"/>
                  </a:lnTo>
                  <a:lnTo>
                    <a:pt x="0" y="91973"/>
                  </a:lnTo>
                  <a:lnTo>
                    <a:pt x="5892" y="109156"/>
                  </a:lnTo>
                  <a:lnTo>
                    <a:pt x="20231" y="126733"/>
                  </a:lnTo>
                  <a:lnTo>
                    <a:pt x="41795" y="142595"/>
                  </a:lnTo>
                  <a:lnTo>
                    <a:pt x="66776" y="153631"/>
                  </a:lnTo>
                  <a:lnTo>
                    <a:pt x="90449" y="158000"/>
                  </a:lnTo>
                  <a:lnTo>
                    <a:pt x="110159" y="155600"/>
                  </a:lnTo>
                  <a:lnTo>
                    <a:pt x="123304" y="146316"/>
                  </a:lnTo>
                  <a:lnTo>
                    <a:pt x="127025" y="131597"/>
                  </a:lnTo>
                  <a:close/>
                </a:path>
                <a:path w="204470" h="158114">
                  <a:moveTo>
                    <a:pt x="204063" y="45542"/>
                  </a:moveTo>
                  <a:lnTo>
                    <a:pt x="175221" y="10591"/>
                  </a:lnTo>
                  <a:lnTo>
                    <a:pt x="141655" y="0"/>
                  </a:lnTo>
                  <a:lnTo>
                    <a:pt x="128066" y="1663"/>
                  </a:lnTo>
                  <a:lnTo>
                    <a:pt x="119011" y="8089"/>
                  </a:lnTo>
                  <a:lnTo>
                    <a:pt x="116408" y="18224"/>
                  </a:lnTo>
                  <a:lnTo>
                    <a:pt x="120472" y="30073"/>
                  </a:lnTo>
                  <a:lnTo>
                    <a:pt x="130365" y="42214"/>
                  </a:lnTo>
                  <a:lnTo>
                    <a:pt x="145237" y="53187"/>
                  </a:lnTo>
                  <a:lnTo>
                    <a:pt x="162471" y="60782"/>
                  </a:lnTo>
                  <a:lnTo>
                    <a:pt x="178790" y="63779"/>
                  </a:lnTo>
                  <a:lnTo>
                    <a:pt x="192392" y="62115"/>
                  </a:lnTo>
                  <a:lnTo>
                    <a:pt x="201472" y="55689"/>
                  </a:lnTo>
                  <a:lnTo>
                    <a:pt x="204063" y="45542"/>
                  </a:lnTo>
                  <a:close/>
                </a:path>
              </a:pathLst>
            </a:custGeom>
            <a:solidFill>
              <a:srgbClr val="002E6E"/>
            </a:solidFill>
          </p:spPr>
          <p:txBody>
            <a:bodyPr wrap="square" lIns="0" tIns="0" rIns="0" bIns="0" rtlCol="0"/>
            <a:lstStyle/>
            <a:p>
              <a:endParaRPr dirty="0"/>
            </a:p>
          </p:txBody>
        </p:sp>
        <p:sp>
          <p:nvSpPr>
            <p:cNvPr id="29" name="bg object 42">
              <a:extLst>
                <a:ext uri="{FF2B5EF4-FFF2-40B4-BE49-F238E27FC236}">
                  <a16:creationId xmlns:a16="http://schemas.microsoft.com/office/drawing/2014/main" id="{54B632EE-68E7-A5C5-D1FE-9F7C39D669AB}"/>
                </a:ext>
              </a:extLst>
            </p:cNvPr>
            <p:cNvSpPr/>
            <p:nvPr/>
          </p:nvSpPr>
          <p:spPr>
            <a:xfrm>
              <a:off x="10391381" y="5055538"/>
              <a:ext cx="50800" cy="40640"/>
            </a:xfrm>
            <a:custGeom>
              <a:avLst/>
              <a:gdLst/>
              <a:ahLst/>
              <a:cxnLst/>
              <a:rect l="l" t="t" r="r" b="b"/>
              <a:pathLst>
                <a:path w="50800" h="40639">
                  <a:moveTo>
                    <a:pt x="12469" y="0"/>
                  </a:moveTo>
                  <a:lnTo>
                    <a:pt x="5089" y="1439"/>
                  </a:lnTo>
                  <a:lnTo>
                    <a:pt x="609" y="5835"/>
                  </a:lnTo>
                  <a:lnTo>
                    <a:pt x="0" y="12455"/>
                  </a:lnTo>
                  <a:lnTo>
                    <a:pt x="3211" y="20018"/>
                  </a:lnTo>
                  <a:lnTo>
                    <a:pt x="9658" y="27595"/>
                  </a:lnTo>
                  <a:lnTo>
                    <a:pt x="18757" y="34258"/>
                  </a:lnTo>
                  <a:lnTo>
                    <a:pt x="28910" y="38732"/>
                  </a:lnTo>
                  <a:lnTo>
                    <a:pt x="38179" y="40247"/>
                  </a:lnTo>
                  <a:lnTo>
                    <a:pt x="45557" y="38803"/>
                  </a:lnTo>
                  <a:lnTo>
                    <a:pt x="50037" y="34397"/>
                  </a:lnTo>
                  <a:lnTo>
                    <a:pt x="50654" y="27770"/>
                  </a:lnTo>
                  <a:lnTo>
                    <a:pt x="47456" y="20215"/>
                  </a:lnTo>
                  <a:lnTo>
                    <a:pt x="41015" y="12645"/>
                  </a:lnTo>
                  <a:lnTo>
                    <a:pt x="31902" y="5975"/>
                  </a:lnTo>
                  <a:lnTo>
                    <a:pt x="21742" y="1513"/>
                  </a:lnTo>
                  <a:lnTo>
                    <a:pt x="12469" y="0"/>
                  </a:lnTo>
                  <a:close/>
                </a:path>
              </a:pathLst>
            </a:custGeom>
            <a:solidFill>
              <a:srgbClr val="002E6E"/>
            </a:solidFill>
          </p:spPr>
          <p:txBody>
            <a:bodyPr wrap="square" lIns="0" tIns="0" rIns="0" bIns="0" rtlCol="0"/>
            <a:lstStyle/>
            <a:p>
              <a:endParaRPr dirty="0"/>
            </a:p>
          </p:txBody>
        </p:sp>
        <p:pic>
          <p:nvPicPr>
            <p:cNvPr id="30" name="bg object 43">
              <a:extLst>
                <a:ext uri="{FF2B5EF4-FFF2-40B4-BE49-F238E27FC236}">
                  <a16:creationId xmlns:a16="http://schemas.microsoft.com/office/drawing/2014/main" id="{415105D9-78D5-DDDA-7B16-5AAFBDCDE77C}"/>
                </a:ext>
              </a:extLst>
            </p:cNvPr>
            <p:cNvPicPr/>
            <p:nvPr/>
          </p:nvPicPr>
          <p:blipFill>
            <a:blip r:embed="rId16" cstate="screen">
              <a:extLst>
                <a:ext uri="{28A0092B-C50C-407E-A947-70E740481C1C}">
                  <a14:useLocalDpi xmlns:a14="http://schemas.microsoft.com/office/drawing/2010/main"/>
                </a:ext>
              </a:extLst>
            </a:blip>
            <a:stretch>
              <a:fillRect/>
            </a:stretch>
          </p:blipFill>
          <p:spPr>
            <a:xfrm>
              <a:off x="10269525" y="5391859"/>
              <a:ext cx="188494" cy="149547"/>
            </a:xfrm>
            <a:prstGeom prst="rect">
              <a:avLst/>
            </a:prstGeom>
          </p:spPr>
        </p:pic>
        <p:sp>
          <p:nvSpPr>
            <p:cNvPr id="31" name="bg object 44">
              <a:extLst>
                <a:ext uri="{FF2B5EF4-FFF2-40B4-BE49-F238E27FC236}">
                  <a16:creationId xmlns:a16="http://schemas.microsoft.com/office/drawing/2014/main" id="{62A0B3F3-E55C-F16C-DFAC-D39B8611F656}"/>
                </a:ext>
              </a:extLst>
            </p:cNvPr>
            <p:cNvSpPr/>
            <p:nvPr/>
          </p:nvSpPr>
          <p:spPr>
            <a:xfrm>
              <a:off x="10321494" y="5137619"/>
              <a:ext cx="124460" cy="206375"/>
            </a:xfrm>
            <a:custGeom>
              <a:avLst/>
              <a:gdLst/>
              <a:ahLst/>
              <a:cxnLst/>
              <a:rect l="l" t="t" r="r" b="b"/>
              <a:pathLst>
                <a:path w="124459" h="206375">
                  <a:moveTo>
                    <a:pt x="122529" y="175717"/>
                  </a:moveTo>
                  <a:lnTo>
                    <a:pt x="99148" y="139141"/>
                  </a:lnTo>
                  <a:lnTo>
                    <a:pt x="52616" y="112280"/>
                  </a:lnTo>
                  <a:lnTo>
                    <a:pt x="30200" y="108635"/>
                  </a:lnTo>
                  <a:lnTo>
                    <a:pt x="12331" y="112115"/>
                  </a:lnTo>
                  <a:lnTo>
                    <a:pt x="1447" y="122707"/>
                  </a:lnTo>
                  <a:lnTo>
                    <a:pt x="0" y="138747"/>
                  </a:lnTo>
                  <a:lnTo>
                    <a:pt x="7772" y="157022"/>
                  </a:lnTo>
                  <a:lnTo>
                    <a:pt x="23380" y="175323"/>
                  </a:lnTo>
                  <a:lnTo>
                    <a:pt x="45402" y="191452"/>
                  </a:lnTo>
                  <a:lnTo>
                    <a:pt x="69926" y="202196"/>
                  </a:lnTo>
                  <a:lnTo>
                    <a:pt x="92329" y="205828"/>
                  </a:lnTo>
                  <a:lnTo>
                    <a:pt x="110172" y="202349"/>
                  </a:lnTo>
                  <a:lnTo>
                    <a:pt x="121056" y="191731"/>
                  </a:lnTo>
                  <a:lnTo>
                    <a:pt x="122529" y="175717"/>
                  </a:lnTo>
                  <a:close/>
                </a:path>
                <a:path w="124459" h="206375">
                  <a:moveTo>
                    <a:pt x="124371" y="46266"/>
                  </a:moveTo>
                  <a:lnTo>
                    <a:pt x="93052" y="9893"/>
                  </a:lnTo>
                  <a:lnTo>
                    <a:pt x="60655" y="0"/>
                  </a:lnTo>
                  <a:lnTo>
                    <a:pt x="48348" y="2400"/>
                  </a:lnTo>
                  <a:lnTo>
                    <a:pt x="40868" y="9715"/>
                  </a:lnTo>
                  <a:lnTo>
                    <a:pt x="39839" y="20777"/>
                  </a:lnTo>
                  <a:lnTo>
                    <a:pt x="45199" y="33388"/>
                  </a:lnTo>
                  <a:lnTo>
                    <a:pt x="55981" y="46012"/>
                  </a:lnTo>
                  <a:lnTo>
                    <a:pt x="71183" y="57150"/>
                  </a:lnTo>
                  <a:lnTo>
                    <a:pt x="88087" y="64554"/>
                  </a:lnTo>
                  <a:lnTo>
                    <a:pt x="103543" y="67056"/>
                  </a:lnTo>
                  <a:lnTo>
                    <a:pt x="115862" y="64643"/>
                  </a:lnTo>
                  <a:lnTo>
                    <a:pt x="123367" y="57315"/>
                  </a:lnTo>
                  <a:lnTo>
                    <a:pt x="124371" y="46266"/>
                  </a:lnTo>
                  <a:close/>
                </a:path>
              </a:pathLst>
            </a:custGeom>
            <a:solidFill>
              <a:srgbClr val="002E6E"/>
            </a:solidFill>
          </p:spPr>
          <p:txBody>
            <a:bodyPr wrap="square" lIns="0" tIns="0" rIns="0" bIns="0" rtlCol="0"/>
            <a:lstStyle/>
            <a:p>
              <a:endParaRPr dirty="0"/>
            </a:p>
          </p:txBody>
        </p:sp>
        <p:pic>
          <p:nvPicPr>
            <p:cNvPr id="32" name="bg object 45">
              <a:extLst>
                <a:ext uri="{FF2B5EF4-FFF2-40B4-BE49-F238E27FC236}">
                  <a16:creationId xmlns:a16="http://schemas.microsoft.com/office/drawing/2014/main" id="{A36C7FA6-2E62-C5B4-207F-74E3FC056FBB}"/>
                </a:ext>
              </a:extLst>
            </p:cNvPr>
            <p:cNvPicPr/>
            <p:nvPr/>
          </p:nvPicPr>
          <p:blipFill>
            <a:blip r:embed="rId17" cstate="screen">
              <a:extLst>
                <a:ext uri="{28A0092B-C50C-407E-A947-70E740481C1C}">
                  <a14:useLocalDpi xmlns:a14="http://schemas.microsoft.com/office/drawing/2010/main"/>
                </a:ext>
              </a:extLst>
            </a:blip>
            <a:stretch>
              <a:fillRect/>
            </a:stretch>
          </p:blipFill>
          <p:spPr>
            <a:xfrm>
              <a:off x="9278991" y="6313755"/>
              <a:ext cx="79679" cy="87045"/>
            </a:xfrm>
            <a:prstGeom prst="rect">
              <a:avLst/>
            </a:prstGeom>
          </p:spPr>
        </p:pic>
        <p:pic>
          <p:nvPicPr>
            <p:cNvPr id="33" name="bg object 46">
              <a:extLst>
                <a:ext uri="{FF2B5EF4-FFF2-40B4-BE49-F238E27FC236}">
                  <a16:creationId xmlns:a16="http://schemas.microsoft.com/office/drawing/2014/main" id="{0F01F708-9D38-DD6C-9124-031B9BEED315}"/>
                </a:ext>
              </a:extLst>
            </p:cNvPr>
            <p:cNvPicPr/>
            <p:nvPr/>
          </p:nvPicPr>
          <p:blipFill>
            <a:blip r:embed="rId18" cstate="screen">
              <a:extLst>
                <a:ext uri="{28A0092B-C50C-407E-A947-70E740481C1C}">
                  <a14:useLocalDpi xmlns:a14="http://schemas.microsoft.com/office/drawing/2010/main"/>
                </a:ext>
              </a:extLst>
            </a:blip>
            <a:stretch>
              <a:fillRect/>
            </a:stretch>
          </p:blipFill>
          <p:spPr>
            <a:xfrm>
              <a:off x="9459078" y="6313275"/>
              <a:ext cx="123202" cy="87426"/>
            </a:xfrm>
            <a:prstGeom prst="rect">
              <a:avLst/>
            </a:prstGeom>
          </p:spPr>
        </p:pic>
        <p:pic>
          <p:nvPicPr>
            <p:cNvPr id="34" name="bg object 47">
              <a:extLst>
                <a:ext uri="{FF2B5EF4-FFF2-40B4-BE49-F238E27FC236}">
                  <a16:creationId xmlns:a16="http://schemas.microsoft.com/office/drawing/2014/main" id="{4A4F56BC-EEAB-4893-7E19-0BACC4E9F814}"/>
                </a:ext>
              </a:extLst>
            </p:cNvPr>
            <p:cNvPicPr/>
            <p:nvPr/>
          </p:nvPicPr>
          <p:blipFill>
            <a:blip r:embed="rId19" cstate="screen">
              <a:extLst>
                <a:ext uri="{28A0092B-C50C-407E-A947-70E740481C1C}">
                  <a14:useLocalDpi xmlns:a14="http://schemas.microsoft.com/office/drawing/2010/main"/>
                </a:ext>
              </a:extLst>
            </a:blip>
            <a:stretch>
              <a:fillRect/>
            </a:stretch>
          </p:blipFill>
          <p:spPr>
            <a:xfrm>
              <a:off x="9689424" y="6315120"/>
              <a:ext cx="92646" cy="85572"/>
            </a:xfrm>
            <a:prstGeom prst="rect">
              <a:avLst/>
            </a:prstGeom>
          </p:spPr>
        </p:pic>
        <p:pic>
          <p:nvPicPr>
            <p:cNvPr id="35" name="bg object 48">
              <a:extLst>
                <a:ext uri="{FF2B5EF4-FFF2-40B4-BE49-F238E27FC236}">
                  <a16:creationId xmlns:a16="http://schemas.microsoft.com/office/drawing/2014/main" id="{A808D8BB-30C0-F02B-4B58-DEA698EE00C6}"/>
                </a:ext>
              </a:extLst>
            </p:cNvPr>
            <p:cNvPicPr/>
            <p:nvPr/>
          </p:nvPicPr>
          <p:blipFill>
            <a:blip r:embed="rId20" cstate="screen">
              <a:extLst>
                <a:ext uri="{28A0092B-C50C-407E-A947-70E740481C1C}">
                  <a14:useLocalDpi xmlns:a14="http://schemas.microsoft.com/office/drawing/2010/main"/>
                </a:ext>
              </a:extLst>
            </a:blip>
            <a:stretch>
              <a:fillRect/>
            </a:stretch>
          </p:blipFill>
          <p:spPr>
            <a:xfrm>
              <a:off x="9882826" y="6315104"/>
              <a:ext cx="74091" cy="83705"/>
            </a:xfrm>
            <a:prstGeom prst="rect">
              <a:avLst/>
            </a:prstGeom>
          </p:spPr>
        </p:pic>
        <p:sp>
          <p:nvSpPr>
            <p:cNvPr id="36" name="bg object 49">
              <a:extLst>
                <a:ext uri="{FF2B5EF4-FFF2-40B4-BE49-F238E27FC236}">
                  <a16:creationId xmlns:a16="http://schemas.microsoft.com/office/drawing/2014/main" id="{B3232F9E-4784-53B2-3DCB-43B489B523CC}"/>
                </a:ext>
              </a:extLst>
            </p:cNvPr>
            <p:cNvSpPr/>
            <p:nvPr/>
          </p:nvSpPr>
          <p:spPr>
            <a:xfrm>
              <a:off x="10057846" y="6361442"/>
              <a:ext cx="22860" cy="36830"/>
            </a:xfrm>
            <a:custGeom>
              <a:avLst/>
              <a:gdLst/>
              <a:ahLst/>
              <a:cxnLst/>
              <a:rect l="l" t="t" r="r" b="b"/>
              <a:pathLst>
                <a:path w="22859" h="36829">
                  <a:moveTo>
                    <a:pt x="0" y="36829"/>
                  </a:moveTo>
                  <a:lnTo>
                    <a:pt x="22491" y="36829"/>
                  </a:lnTo>
                  <a:lnTo>
                    <a:pt x="22491" y="0"/>
                  </a:lnTo>
                  <a:lnTo>
                    <a:pt x="0" y="0"/>
                  </a:lnTo>
                  <a:lnTo>
                    <a:pt x="0" y="36829"/>
                  </a:lnTo>
                  <a:close/>
                </a:path>
              </a:pathLst>
            </a:custGeom>
            <a:solidFill>
              <a:srgbClr val="002E6E"/>
            </a:solidFill>
          </p:spPr>
          <p:txBody>
            <a:bodyPr wrap="square" lIns="0" tIns="0" rIns="0" bIns="0" rtlCol="0"/>
            <a:lstStyle/>
            <a:p>
              <a:endParaRPr dirty="0"/>
            </a:p>
          </p:txBody>
        </p:sp>
        <p:sp>
          <p:nvSpPr>
            <p:cNvPr id="37" name="bg object 50">
              <a:extLst>
                <a:ext uri="{FF2B5EF4-FFF2-40B4-BE49-F238E27FC236}">
                  <a16:creationId xmlns:a16="http://schemas.microsoft.com/office/drawing/2014/main" id="{4BB2A5B0-E222-F40D-0C4F-80D539C3A035}"/>
                </a:ext>
              </a:extLst>
            </p:cNvPr>
            <p:cNvSpPr/>
            <p:nvPr/>
          </p:nvSpPr>
          <p:spPr>
            <a:xfrm>
              <a:off x="10057841" y="6315722"/>
              <a:ext cx="93980" cy="82550"/>
            </a:xfrm>
            <a:custGeom>
              <a:avLst/>
              <a:gdLst/>
              <a:ahLst/>
              <a:cxnLst/>
              <a:rect l="l" t="t" r="r" b="b"/>
              <a:pathLst>
                <a:path w="93979" h="82550">
                  <a:moveTo>
                    <a:pt x="93675" y="0"/>
                  </a:moveTo>
                  <a:lnTo>
                    <a:pt x="71196" y="0"/>
                  </a:lnTo>
                  <a:lnTo>
                    <a:pt x="71196" y="31750"/>
                  </a:lnTo>
                  <a:lnTo>
                    <a:pt x="22491" y="31750"/>
                  </a:lnTo>
                  <a:lnTo>
                    <a:pt x="22491" y="0"/>
                  </a:lnTo>
                  <a:lnTo>
                    <a:pt x="0" y="0"/>
                  </a:lnTo>
                  <a:lnTo>
                    <a:pt x="0" y="31750"/>
                  </a:lnTo>
                  <a:lnTo>
                    <a:pt x="0" y="45720"/>
                  </a:lnTo>
                  <a:lnTo>
                    <a:pt x="71196" y="45720"/>
                  </a:lnTo>
                  <a:lnTo>
                    <a:pt x="71196" y="82550"/>
                  </a:lnTo>
                  <a:lnTo>
                    <a:pt x="93675" y="82550"/>
                  </a:lnTo>
                  <a:lnTo>
                    <a:pt x="93675" y="45720"/>
                  </a:lnTo>
                  <a:lnTo>
                    <a:pt x="93675" y="31750"/>
                  </a:lnTo>
                  <a:lnTo>
                    <a:pt x="93675" y="0"/>
                  </a:lnTo>
                  <a:close/>
                </a:path>
              </a:pathLst>
            </a:custGeom>
            <a:solidFill>
              <a:srgbClr val="002E6E"/>
            </a:solidFill>
          </p:spPr>
          <p:txBody>
            <a:bodyPr wrap="square" lIns="0" tIns="0" rIns="0" bIns="0" rtlCol="0"/>
            <a:lstStyle/>
            <a:p>
              <a:endParaRPr dirty="0"/>
            </a:p>
          </p:txBody>
        </p:sp>
        <p:pic>
          <p:nvPicPr>
            <p:cNvPr id="38" name="bg object 51">
              <a:extLst>
                <a:ext uri="{FF2B5EF4-FFF2-40B4-BE49-F238E27FC236}">
                  <a16:creationId xmlns:a16="http://schemas.microsoft.com/office/drawing/2014/main" id="{AD6D5924-9BD5-4DA1-0B7E-6DC74F6EB071}"/>
                </a:ext>
              </a:extLst>
            </p:cNvPr>
            <p:cNvPicPr/>
            <p:nvPr/>
          </p:nvPicPr>
          <p:blipFill>
            <a:blip r:embed="rId21" cstate="screen">
              <a:extLst>
                <a:ext uri="{28A0092B-C50C-407E-A947-70E740481C1C}">
                  <a14:useLocalDpi xmlns:a14="http://schemas.microsoft.com/office/drawing/2010/main"/>
                </a:ext>
              </a:extLst>
            </a:blip>
            <a:stretch>
              <a:fillRect/>
            </a:stretch>
          </p:blipFill>
          <p:spPr>
            <a:xfrm>
              <a:off x="10424067" y="6313369"/>
              <a:ext cx="115265" cy="85445"/>
            </a:xfrm>
            <a:prstGeom prst="rect">
              <a:avLst/>
            </a:prstGeom>
          </p:spPr>
        </p:pic>
        <p:sp>
          <p:nvSpPr>
            <p:cNvPr id="39" name="bg object 52">
              <a:extLst>
                <a:ext uri="{FF2B5EF4-FFF2-40B4-BE49-F238E27FC236}">
                  <a16:creationId xmlns:a16="http://schemas.microsoft.com/office/drawing/2014/main" id="{FC1F37A5-E68E-FBC1-4C07-078CDBA91A91}"/>
                </a:ext>
              </a:extLst>
            </p:cNvPr>
            <p:cNvSpPr/>
            <p:nvPr/>
          </p:nvSpPr>
          <p:spPr>
            <a:xfrm>
              <a:off x="10639363" y="6315119"/>
              <a:ext cx="61594" cy="83820"/>
            </a:xfrm>
            <a:custGeom>
              <a:avLst/>
              <a:gdLst/>
              <a:ahLst/>
              <a:cxnLst/>
              <a:rect l="l" t="t" r="r" b="b"/>
              <a:pathLst>
                <a:path w="61595" h="83820">
                  <a:moveTo>
                    <a:pt x="61036" y="0"/>
                  </a:moveTo>
                  <a:lnTo>
                    <a:pt x="0" y="0"/>
                  </a:lnTo>
                  <a:lnTo>
                    <a:pt x="0" y="83692"/>
                  </a:lnTo>
                  <a:lnTo>
                    <a:pt x="22504" y="83692"/>
                  </a:lnTo>
                  <a:lnTo>
                    <a:pt x="22504" y="46913"/>
                  </a:lnTo>
                  <a:lnTo>
                    <a:pt x="58597" y="46913"/>
                  </a:lnTo>
                  <a:lnTo>
                    <a:pt x="58597" y="32765"/>
                  </a:lnTo>
                  <a:lnTo>
                    <a:pt x="22504" y="32765"/>
                  </a:lnTo>
                  <a:lnTo>
                    <a:pt x="22504" y="14173"/>
                  </a:lnTo>
                  <a:lnTo>
                    <a:pt x="61036" y="14173"/>
                  </a:lnTo>
                  <a:lnTo>
                    <a:pt x="61036" y="0"/>
                  </a:lnTo>
                  <a:close/>
                </a:path>
              </a:pathLst>
            </a:custGeom>
            <a:solidFill>
              <a:srgbClr val="002E6E"/>
            </a:solidFill>
          </p:spPr>
          <p:txBody>
            <a:bodyPr wrap="square" lIns="0" tIns="0" rIns="0" bIns="0" rtlCol="0"/>
            <a:lstStyle/>
            <a:p>
              <a:endParaRPr dirty="0"/>
            </a:p>
          </p:txBody>
        </p:sp>
        <p:pic>
          <p:nvPicPr>
            <p:cNvPr id="40" name="bg object 53">
              <a:extLst>
                <a:ext uri="{FF2B5EF4-FFF2-40B4-BE49-F238E27FC236}">
                  <a16:creationId xmlns:a16="http://schemas.microsoft.com/office/drawing/2014/main" id="{77E20664-7C82-8592-9C7F-FF88789DF7DF}"/>
                </a:ext>
              </a:extLst>
            </p:cNvPr>
            <p:cNvPicPr/>
            <p:nvPr/>
          </p:nvPicPr>
          <p:blipFill>
            <a:blip r:embed="rId22" cstate="screen">
              <a:extLst>
                <a:ext uri="{28A0092B-C50C-407E-A947-70E740481C1C}">
                  <a14:useLocalDpi xmlns:a14="http://schemas.microsoft.com/office/drawing/2010/main"/>
                </a:ext>
              </a:extLst>
            </a:blip>
            <a:stretch>
              <a:fillRect/>
            </a:stretch>
          </p:blipFill>
          <p:spPr>
            <a:xfrm>
              <a:off x="10806506" y="6315099"/>
              <a:ext cx="84150" cy="83705"/>
            </a:xfrm>
            <a:prstGeom prst="rect">
              <a:avLst/>
            </a:prstGeom>
          </p:spPr>
        </p:pic>
        <p:sp>
          <p:nvSpPr>
            <p:cNvPr id="41" name="bg object 54">
              <a:extLst>
                <a:ext uri="{FF2B5EF4-FFF2-40B4-BE49-F238E27FC236}">
                  <a16:creationId xmlns:a16="http://schemas.microsoft.com/office/drawing/2014/main" id="{90E1AA22-994A-296B-90E4-6EFB923AAC38}"/>
                </a:ext>
              </a:extLst>
            </p:cNvPr>
            <p:cNvSpPr/>
            <p:nvPr/>
          </p:nvSpPr>
          <p:spPr>
            <a:xfrm>
              <a:off x="10992243" y="6315138"/>
              <a:ext cx="22860" cy="83820"/>
            </a:xfrm>
            <a:custGeom>
              <a:avLst/>
              <a:gdLst/>
              <a:ahLst/>
              <a:cxnLst/>
              <a:rect l="l" t="t" r="r" b="b"/>
              <a:pathLst>
                <a:path w="22859" h="83820">
                  <a:moveTo>
                    <a:pt x="22466" y="0"/>
                  </a:moveTo>
                  <a:lnTo>
                    <a:pt x="0" y="0"/>
                  </a:lnTo>
                  <a:lnTo>
                    <a:pt x="0" y="83667"/>
                  </a:lnTo>
                  <a:lnTo>
                    <a:pt x="22466" y="83667"/>
                  </a:lnTo>
                  <a:lnTo>
                    <a:pt x="22466" y="0"/>
                  </a:lnTo>
                  <a:close/>
                </a:path>
              </a:pathLst>
            </a:custGeom>
            <a:solidFill>
              <a:srgbClr val="002E6E"/>
            </a:solidFill>
          </p:spPr>
          <p:txBody>
            <a:bodyPr wrap="square" lIns="0" tIns="0" rIns="0" bIns="0" rtlCol="0"/>
            <a:lstStyle/>
            <a:p>
              <a:endParaRPr dirty="0"/>
            </a:p>
          </p:txBody>
        </p:sp>
        <p:pic>
          <p:nvPicPr>
            <p:cNvPr id="42" name="bg object 55">
              <a:extLst>
                <a:ext uri="{FF2B5EF4-FFF2-40B4-BE49-F238E27FC236}">
                  <a16:creationId xmlns:a16="http://schemas.microsoft.com/office/drawing/2014/main" id="{BA70E4BD-650A-6B30-F38C-2C5EA2F75B42}"/>
                </a:ext>
              </a:extLst>
            </p:cNvPr>
            <p:cNvPicPr/>
            <p:nvPr/>
          </p:nvPicPr>
          <p:blipFill>
            <a:blip r:embed="rId23" cstate="screen">
              <a:extLst>
                <a:ext uri="{28A0092B-C50C-407E-A947-70E740481C1C}">
                  <a14:useLocalDpi xmlns:a14="http://schemas.microsoft.com/office/drawing/2010/main"/>
                </a:ext>
              </a:extLst>
            </a:blip>
            <a:stretch>
              <a:fillRect/>
            </a:stretch>
          </p:blipFill>
          <p:spPr>
            <a:xfrm>
              <a:off x="11121703" y="6313251"/>
              <a:ext cx="89001" cy="87439"/>
            </a:xfrm>
            <a:prstGeom prst="rect">
              <a:avLst/>
            </a:prstGeom>
          </p:spPr>
        </p:pic>
        <p:pic>
          <p:nvPicPr>
            <p:cNvPr id="43" name="bg object 56">
              <a:extLst>
                <a:ext uri="{FF2B5EF4-FFF2-40B4-BE49-F238E27FC236}">
                  <a16:creationId xmlns:a16="http://schemas.microsoft.com/office/drawing/2014/main" id="{A291A888-8A53-F8B0-B3FA-40BC346C2B3F}"/>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1304880" y="6313369"/>
              <a:ext cx="115227" cy="85445"/>
            </a:xfrm>
            <a:prstGeom prst="rect">
              <a:avLst/>
            </a:prstGeom>
          </p:spPr>
        </p:pic>
      </p:grpSp>
      <p:sp>
        <p:nvSpPr>
          <p:cNvPr id="4" name="Oval 3">
            <a:extLst>
              <a:ext uri="{FF2B5EF4-FFF2-40B4-BE49-F238E27FC236}">
                <a16:creationId xmlns:a16="http://schemas.microsoft.com/office/drawing/2014/main" id="{D95834AB-CCE3-D50E-459C-AADAC6D4F24A}"/>
              </a:ext>
            </a:extLst>
          </p:cNvPr>
          <p:cNvSpPr/>
          <p:nvPr userDrawn="1"/>
        </p:nvSpPr>
        <p:spPr>
          <a:xfrm>
            <a:off x="2545977" y="1705711"/>
            <a:ext cx="1685365" cy="1685365"/>
          </a:xfrm>
          <a:prstGeom prst="ellipse">
            <a:avLst/>
          </a:prstGeom>
          <a:solidFill>
            <a:srgbClr val="00A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904579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image" Target="../media/image7.png"/><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 Id="rId14" Type="http://schemas.openxmlformats.org/officeDocument/2006/relationships/image" Target="../media/image6.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heme" Target="../theme/theme3.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01790BF-C0FC-43E2-98E3-151DCE4CD887}"/>
              </a:ext>
            </a:extLst>
          </p:cNvPr>
          <p:cNvGrpSpPr/>
          <p:nvPr userDrawn="1"/>
        </p:nvGrpSpPr>
        <p:grpSpPr>
          <a:xfrm>
            <a:off x="0" y="5789267"/>
            <a:ext cx="12192000" cy="972861"/>
            <a:chOff x="-2971799" y="5307111"/>
            <a:chExt cx="17348197" cy="1384300"/>
          </a:xfrm>
        </p:grpSpPr>
        <p:sp>
          <p:nvSpPr>
            <p:cNvPr id="8" name="bk object 143">
              <a:extLst>
                <a:ext uri="{FF2B5EF4-FFF2-40B4-BE49-F238E27FC236}">
                  <a16:creationId xmlns:a16="http://schemas.microsoft.com/office/drawing/2014/main" id="{4724B71A-371B-4A62-B11D-FBB0F93D4266}"/>
                </a:ext>
              </a:extLst>
            </p:cNvPr>
            <p:cNvSpPr/>
            <p:nvPr userDrawn="1"/>
          </p:nvSpPr>
          <p:spPr>
            <a:xfrm>
              <a:off x="66128" y="6523701"/>
              <a:ext cx="1922145" cy="167640"/>
            </a:xfrm>
            <a:custGeom>
              <a:avLst/>
              <a:gdLst/>
              <a:ahLst/>
              <a:cxnLst/>
              <a:rect l="l" t="t" r="r" b="b"/>
              <a:pathLst>
                <a:path w="1922145" h="167640">
                  <a:moveTo>
                    <a:pt x="1921979" y="167563"/>
                  </a:moveTo>
                  <a:lnTo>
                    <a:pt x="0" y="167563"/>
                  </a:lnTo>
                  <a:lnTo>
                    <a:pt x="0" y="0"/>
                  </a:lnTo>
                  <a:lnTo>
                    <a:pt x="1921979" y="0"/>
                  </a:lnTo>
                  <a:lnTo>
                    <a:pt x="1921979" y="167563"/>
                  </a:lnTo>
                  <a:close/>
                </a:path>
              </a:pathLst>
            </a:custGeom>
            <a:solidFill>
              <a:srgbClr val="95847C"/>
            </a:solidFill>
          </p:spPr>
          <p:txBody>
            <a:bodyPr wrap="square" lIns="0" tIns="0" rIns="0" bIns="0" rtlCol="0"/>
            <a:lstStyle/>
            <a:p>
              <a:endParaRPr dirty="0"/>
            </a:p>
          </p:txBody>
        </p:sp>
        <p:sp>
          <p:nvSpPr>
            <p:cNvPr id="9" name="bk object 144">
              <a:extLst>
                <a:ext uri="{FF2B5EF4-FFF2-40B4-BE49-F238E27FC236}">
                  <a16:creationId xmlns:a16="http://schemas.microsoft.com/office/drawing/2014/main" id="{73416B9C-7ADD-4BC2-8DA4-533EFD4A38C6}"/>
                </a:ext>
              </a:extLst>
            </p:cNvPr>
            <p:cNvSpPr/>
            <p:nvPr userDrawn="1"/>
          </p:nvSpPr>
          <p:spPr>
            <a:xfrm>
              <a:off x="1978329" y="6523701"/>
              <a:ext cx="1932305" cy="167640"/>
            </a:xfrm>
            <a:custGeom>
              <a:avLst/>
              <a:gdLst/>
              <a:ahLst/>
              <a:cxnLst/>
              <a:rect l="l" t="t" r="r" b="b"/>
              <a:pathLst>
                <a:path w="1932304" h="167640">
                  <a:moveTo>
                    <a:pt x="1931771" y="167563"/>
                  </a:moveTo>
                  <a:lnTo>
                    <a:pt x="0" y="167563"/>
                  </a:lnTo>
                  <a:lnTo>
                    <a:pt x="0" y="0"/>
                  </a:lnTo>
                  <a:lnTo>
                    <a:pt x="1931771" y="0"/>
                  </a:lnTo>
                  <a:lnTo>
                    <a:pt x="1931771" y="167563"/>
                  </a:lnTo>
                  <a:close/>
                </a:path>
              </a:pathLst>
            </a:custGeom>
            <a:solidFill>
              <a:srgbClr val="E23A5A"/>
            </a:solidFill>
          </p:spPr>
          <p:txBody>
            <a:bodyPr wrap="square" lIns="0" tIns="0" rIns="0" bIns="0" rtlCol="0"/>
            <a:lstStyle/>
            <a:p>
              <a:endParaRPr dirty="0"/>
            </a:p>
          </p:txBody>
        </p:sp>
        <p:sp>
          <p:nvSpPr>
            <p:cNvPr id="10" name="bk object 145">
              <a:extLst>
                <a:ext uri="{FF2B5EF4-FFF2-40B4-BE49-F238E27FC236}">
                  <a16:creationId xmlns:a16="http://schemas.microsoft.com/office/drawing/2014/main" id="{472C79DF-04F4-441F-A157-4746D39A279E}"/>
                </a:ext>
              </a:extLst>
            </p:cNvPr>
            <p:cNvSpPr/>
            <p:nvPr userDrawn="1"/>
          </p:nvSpPr>
          <p:spPr>
            <a:xfrm>
              <a:off x="-905272" y="5307113"/>
              <a:ext cx="692150" cy="1216660"/>
            </a:xfrm>
            <a:custGeom>
              <a:avLst/>
              <a:gdLst/>
              <a:ahLst/>
              <a:cxnLst/>
              <a:rect l="l" t="t" r="r" b="b"/>
              <a:pathLst>
                <a:path w="692150" h="1216659">
                  <a:moveTo>
                    <a:pt x="0" y="0"/>
                  </a:moveTo>
                  <a:lnTo>
                    <a:pt x="0" y="167563"/>
                  </a:lnTo>
                  <a:lnTo>
                    <a:pt x="47742" y="169707"/>
                  </a:lnTo>
                  <a:lnTo>
                    <a:pt x="94283" y="176014"/>
                  </a:lnTo>
                  <a:lnTo>
                    <a:pt x="139438" y="186300"/>
                  </a:lnTo>
                  <a:lnTo>
                    <a:pt x="183021" y="200378"/>
                  </a:lnTo>
                  <a:lnTo>
                    <a:pt x="224848" y="218065"/>
                  </a:lnTo>
                  <a:lnTo>
                    <a:pt x="264733" y="239175"/>
                  </a:lnTo>
                  <a:lnTo>
                    <a:pt x="302492" y="263523"/>
                  </a:lnTo>
                  <a:lnTo>
                    <a:pt x="337938" y="290923"/>
                  </a:lnTo>
                  <a:lnTo>
                    <a:pt x="370887" y="321190"/>
                  </a:lnTo>
                  <a:lnTo>
                    <a:pt x="401154" y="354140"/>
                  </a:lnTo>
                  <a:lnTo>
                    <a:pt x="428553" y="389587"/>
                  </a:lnTo>
                  <a:lnTo>
                    <a:pt x="452900" y="427345"/>
                  </a:lnTo>
                  <a:lnTo>
                    <a:pt x="474009" y="467230"/>
                  </a:lnTo>
                  <a:lnTo>
                    <a:pt x="491696" y="509057"/>
                  </a:lnTo>
                  <a:lnTo>
                    <a:pt x="505774" y="552639"/>
                  </a:lnTo>
                  <a:lnTo>
                    <a:pt x="516059" y="597793"/>
                  </a:lnTo>
                  <a:lnTo>
                    <a:pt x="522366" y="644333"/>
                  </a:lnTo>
                  <a:lnTo>
                    <a:pt x="524510" y="692073"/>
                  </a:lnTo>
                  <a:lnTo>
                    <a:pt x="522366" y="739816"/>
                  </a:lnTo>
                  <a:lnTo>
                    <a:pt x="516059" y="786357"/>
                  </a:lnTo>
                  <a:lnTo>
                    <a:pt x="505774" y="831512"/>
                  </a:lnTo>
                  <a:lnTo>
                    <a:pt x="491696" y="875095"/>
                  </a:lnTo>
                  <a:lnTo>
                    <a:pt x="474009" y="916922"/>
                  </a:lnTo>
                  <a:lnTo>
                    <a:pt x="452900" y="956807"/>
                  </a:lnTo>
                  <a:lnTo>
                    <a:pt x="428553" y="994565"/>
                  </a:lnTo>
                  <a:lnTo>
                    <a:pt x="401154" y="1030012"/>
                  </a:lnTo>
                  <a:lnTo>
                    <a:pt x="370887" y="1062961"/>
                  </a:lnTo>
                  <a:lnTo>
                    <a:pt x="337938" y="1093228"/>
                  </a:lnTo>
                  <a:lnTo>
                    <a:pt x="302492" y="1120627"/>
                  </a:lnTo>
                  <a:lnTo>
                    <a:pt x="264733" y="1144974"/>
                  </a:lnTo>
                  <a:lnTo>
                    <a:pt x="224848" y="1166083"/>
                  </a:lnTo>
                  <a:lnTo>
                    <a:pt x="183021" y="1183770"/>
                  </a:lnTo>
                  <a:lnTo>
                    <a:pt x="139438" y="1197848"/>
                  </a:lnTo>
                  <a:lnTo>
                    <a:pt x="94283" y="1208133"/>
                  </a:lnTo>
                  <a:lnTo>
                    <a:pt x="47742" y="1214440"/>
                  </a:lnTo>
                  <a:lnTo>
                    <a:pt x="0" y="1216583"/>
                  </a:lnTo>
                  <a:lnTo>
                    <a:pt x="451218" y="1216583"/>
                  </a:lnTo>
                  <a:lnTo>
                    <a:pt x="486923" y="1183609"/>
                  </a:lnTo>
                  <a:lnTo>
                    <a:pt x="520243" y="1148232"/>
                  </a:lnTo>
                  <a:lnTo>
                    <a:pt x="551040" y="1110588"/>
                  </a:lnTo>
                  <a:lnTo>
                    <a:pt x="579177" y="1070812"/>
                  </a:lnTo>
                  <a:lnTo>
                    <a:pt x="604517" y="1029039"/>
                  </a:lnTo>
                  <a:lnTo>
                    <a:pt x="626924" y="985404"/>
                  </a:lnTo>
                  <a:lnTo>
                    <a:pt x="646259" y="940042"/>
                  </a:lnTo>
                  <a:lnTo>
                    <a:pt x="662387" y="893090"/>
                  </a:lnTo>
                  <a:lnTo>
                    <a:pt x="675169" y="844681"/>
                  </a:lnTo>
                  <a:lnTo>
                    <a:pt x="684469" y="794952"/>
                  </a:lnTo>
                  <a:lnTo>
                    <a:pt x="690149" y="744038"/>
                  </a:lnTo>
                  <a:lnTo>
                    <a:pt x="692073" y="692073"/>
                  </a:lnTo>
                  <a:lnTo>
                    <a:pt x="690477" y="644690"/>
                  </a:lnTo>
                  <a:lnTo>
                    <a:pt x="685756" y="598164"/>
                  </a:lnTo>
                  <a:lnTo>
                    <a:pt x="678013" y="552597"/>
                  </a:lnTo>
                  <a:lnTo>
                    <a:pt x="667352" y="508094"/>
                  </a:lnTo>
                  <a:lnTo>
                    <a:pt x="653876" y="464756"/>
                  </a:lnTo>
                  <a:lnTo>
                    <a:pt x="637688" y="422688"/>
                  </a:lnTo>
                  <a:lnTo>
                    <a:pt x="618891" y="381992"/>
                  </a:lnTo>
                  <a:lnTo>
                    <a:pt x="597587" y="342772"/>
                  </a:lnTo>
                  <a:lnTo>
                    <a:pt x="573881" y="305129"/>
                  </a:lnTo>
                  <a:lnTo>
                    <a:pt x="547874" y="269169"/>
                  </a:lnTo>
                  <a:lnTo>
                    <a:pt x="519671" y="234993"/>
                  </a:lnTo>
                  <a:lnTo>
                    <a:pt x="489373" y="202704"/>
                  </a:lnTo>
                  <a:lnTo>
                    <a:pt x="457085" y="172406"/>
                  </a:lnTo>
                  <a:lnTo>
                    <a:pt x="422909" y="144203"/>
                  </a:lnTo>
                  <a:lnTo>
                    <a:pt x="386949" y="118196"/>
                  </a:lnTo>
                  <a:lnTo>
                    <a:pt x="349307" y="94488"/>
                  </a:lnTo>
                  <a:lnTo>
                    <a:pt x="310086" y="73184"/>
                  </a:lnTo>
                  <a:lnTo>
                    <a:pt x="269390" y="54386"/>
                  </a:lnTo>
                  <a:lnTo>
                    <a:pt x="227322" y="38198"/>
                  </a:lnTo>
                  <a:lnTo>
                    <a:pt x="183984" y="24721"/>
                  </a:lnTo>
                  <a:lnTo>
                    <a:pt x="139479" y="14060"/>
                  </a:lnTo>
                  <a:lnTo>
                    <a:pt x="93912" y="6317"/>
                  </a:lnTo>
                  <a:lnTo>
                    <a:pt x="47384" y="1596"/>
                  </a:lnTo>
                  <a:lnTo>
                    <a:pt x="0" y="0"/>
                  </a:lnTo>
                  <a:close/>
                </a:path>
              </a:pathLst>
            </a:custGeom>
            <a:solidFill>
              <a:srgbClr val="01A289"/>
            </a:solidFill>
          </p:spPr>
          <p:txBody>
            <a:bodyPr wrap="square" lIns="0" tIns="0" rIns="0" bIns="0" rtlCol="0"/>
            <a:lstStyle/>
            <a:p>
              <a:endParaRPr dirty="0"/>
            </a:p>
          </p:txBody>
        </p:sp>
        <p:sp>
          <p:nvSpPr>
            <p:cNvPr id="11" name="bk object 146">
              <a:extLst>
                <a:ext uri="{FF2B5EF4-FFF2-40B4-BE49-F238E27FC236}">
                  <a16:creationId xmlns:a16="http://schemas.microsoft.com/office/drawing/2014/main" id="{77641E77-4D69-4F0A-8356-F7D29CEC3B22}"/>
                </a:ext>
              </a:extLst>
            </p:cNvPr>
            <p:cNvSpPr/>
            <p:nvPr userDrawn="1"/>
          </p:nvSpPr>
          <p:spPr>
            <a:xfrm>
              <a:off x="-905269" y="5999191"/>
              <a:ext cx="692073" cy="524510"/>
            </a:xfrm>
            <a:prstGeom prst="rect">
              <a:avLst/>
            </a:prstGeom>
            <a:blipFill>
              <a:blip r:embed="rId9" cstate="print"/>
              <a:stretch>
                <a:fillRect/>
              </a:stretch>
            </a:blipFill>
          </p:spPr>
          <p:txBody>
            <a:bodyPr wrap="square" lIns="0" tIns="0" rIns="0" bIns="0" rtlCol="0"/>
            <a:lstStyle/>
            <a:p>
              <a:endParaRPr dirty="0"/>
            </a:p>
          </p:txBody>
        </p:sp>
        <p:sp>
          <p:nvSpPr>
            <p:cNvPr id="12" name="bk object 147">
              <a:extLst>
                <a:ext uri="{FF2B5EF4-FFF2-40B4-BE49-F238E27FC236}">
                  <a16:creationId xmlns:a16="http://schemas.microsoft.com/office/drawing/2014/main" id="{1DF8B169-44B5-4C10-820E-3840F0A4575D}"/>
                </a:ext>
              </a:extLst>
            </p:cNvPr>
            <p:cNvSpPr/>
            <p:nvPr userDrawn="1"/>
          </p:nvSpPr>
          <p:spPr>
            <a:xfrm>
              <a:off x="324649" y="5307111"/>
              <a:ext cx="1663700" cy="1384300"/>
            </a:xfrm>
            <a:custGeom>
              <a:avLst/>
              <a:gdLst/>
              <a:ahLst/>
              <a:cxnLst/>
              <a:rect l="l" t="t" r="r" b="b"/>
              <a:pathLst>
                <a:path w="1663700" h="1384300">
                  <a:moveTo>
                    <a:pt x="692061" y="0"/>
                  </a:moveTo>
                  <a:lnTo>
                    <a:pt x="644677" y="1596"/>
                  </a:lnTo>
                  <a:lnTo>
                    <a:pt x="598151" y="6317"/>
                  </a:lnTo>
                  <a:lnTo>
                    <a:pt x="552585" y="14060"/>
                  </a:lnTo>
                  <a:lnTo>
                    <a:pt x="508082" y="24721"/>
                  </a:lnTo>
                  <a:lnTo>
                    <a:pt x="464745" y="38198"/>
                  </a:lnTo>
                  <a:lnTo>
                    <a:pt x="422677" y="54386"/>
                  </a:lnTo>
                  <a:lnTo>
                    <a:pt x="381982" y="73184"/>
                  </a:lnTo>
                  <a:lnTo>
                    <a:pt x="342762" y="94488"/>
                  </a:lnTo>
                  <a:lnTo>
                    <a:pt x="305121" y="118196"/>
                  </a:lnTo>
                  <a:lnTo>
                    <a:pt x="269161" y="144203"/>
                  </a:lnTo>
                  <a:lnTo>
                    <a:pt x="234986" y="172406"/>
                  </a:lnTo>
                  <a:lnTo>
                    <a:pt x="202698" y="202704"/>
                  </a:lnTo>
                  <a:lnTo>
                    <a:pt x="172401" y="234993"/>
                  </a:lnTo>
                  <a:lnTo>
                    <a:pt x="144198" y="269169"/>
                  </a:lnTo>
                  <a:lnTo>
                    <a:pt x="118192" y="305129"/>
                  </a:lnTo>
                  <a:lnTo>
                    <a:pt x="94485" y="342772"/>
                  </a:lnTo>
                  <a:lnTo>
                    <a:pt x="73182" y="381992"/>
                  </a:lnTo>
                  <a:lnTo>
                    <a:pt x="54384" y="422688"/>
                  </a:lnTo>
                  <a:lnTo>
                    <a:pt x="38196" y="464756"/>
                  </a:lnTo>
                  <a:lnTo>
                    <a:pt x="24720" y="508094"/>
                  </a:lnTo>
                  <a:lnTo>
                    <a:pt x="14052" y="552639"/>
                  </a:lnTo>
                  <a:lnTo>
                    <a:pt x="6317" y="598164"/>
                  </a:lnTo>
                  <a:lnTo>
                    <a:pt x="1596" y="644690"/>
                  </a:lnTo>
                  <a:lnTo>
                    <a:pt x="0" y="692073"/>
                  </a:lnTo>
                  <a:lnTo>
                    <a:pt x="1923" y="744038"/>
                  </a:lnTo>
                  <a:lnTo>
                    <a:pt x="7604" y="794952"/>
                  </a:lnTo>
                  <a:lnTo>
                    <a:pt x="16904" y="844681"/>
                  </a:lnTo>
                  <a:lnTo>
                    <a:pt x="29686" y="893090"/>
                  </a:lnTo>
                  <a:lnTo>
                    <a:pt x="45812" y="940042"/>
                  </a:lnTo>
                  <a:lnTo>
                    <a:pt x="65147" y="985404"/>
                  </a:lnTo>
                  <a:lnTo>
                    <a:pt x="87553" y="1029039"/>
                  </a:lnTo>
                  <a:lnTo>
                    <a:pt x="112892" y="1070812"/>
                  </a:lnTo>
                  <a:lnTo>
                    <a:pt x="141028" y="1110588"/>
                  </a:lnTo>
                  <a:lnTo>
                    <a:pt x="171823" y="1148232"/>
                  </a:lnTo>
                  <a:lnTo>
                    <a:pt x="205140" y="1183609"/>
                  </a:lnTo>
                  <a:lnTo>
                    <a:pt x="240842" y="1216583"/>
                  </a:lnTo>
                  <a:lnTo>
                    <a:pt x="278265" y="1246630"/>
                  </a:lnTo>
                  <a:lnTo>
                    <a:pt x="317744" y="1274078"/>
                  </a:lnTo>
                  <a:lnTo>
                    <a:pt x="359150" y="1298792"/>
                  </a:lnTo>
                  <a:lnTo>
                    <a:pt x="402354" y="1320642"/>
                  </a:lnTo>
                  <a:lnTo>
                    <a:pt x="447225" y="1339494"/>
                  </a:lnTo>
                  <a:lnTo>
                    <a:pt x="493635" y="1355215"/>
                  </a:lnTo>
                  <a:lnTo>
                    <a:pt x="541452" y="1367674"/>
                  </a:lnTo>
                  <a:lnTo>
                    <a:pt x="590549" y="1376737"/>
                  </a:lnTo>
                  <a:lnTo>
                    <a:pt x="640795" y="1382273"/>
                  </a:lnTo>
                  <a:lnTo>
                    <a:pt x="692061" y="1384147"/>
                  </a:lnTo>
                  <a:lnTo>
                    <a:pt x="1663458" y="1384147"/>
                  </a:lnTo>
                  <a:lnTo>
                    <a:pt x="1663458" y="1216583"/>
                  </a:lnTo>
                  <a:lnTo>
                    <a:pt x="692061" y="1216583"/>
                  </a:lnTo>
                  <a:lnTo>
                    <a:pt x="644320" y="1214440"/>
                  </a:lnTo>
                  <a:lnTo>
                    <a:pt x="597780" y="1208133"/>
                  </a:lnTo>
                  <a:lnTo>
                    <a:pt x="552627" y="1197848"/>
                  </a:lnTo>
                  <a:lnTo>
                    <a:pt x="509044" y="1183770"/>
                  </a:lnTo>
                  <a:lnTo>
                    <a:pt x="467217" y="1166083"/>
                  </a:lnTo>
                  <a:lnTo>
                    <a:pt x="427332" y="1144974"/>
                  </a:lnTo>
                  <a:lnTo>
                    <a:pt x="389574" y="1120627"/>
                  </a:lnTo>
                  <a:lnTo>
                    <a:pt x="354127" y="1093228"/>
                  </a:lnTo>
                  <a:lnTo>
                    <a:pt x="321178" y="1062961"/>
                  </a:lnTo>
                  <a:lnTo>
                    <a:pt x="290910" y="1030012"/>
                  </a:lnTo>
                  <a:lnTo>
                    <a:pt x="263510" y="994565"/>
                  </a:lnTo>
                  <a:lnTo>
                    <a:pt x="239163" y="956807"/>
                  </a:lnTo>
                  <a:lnTo>
                    <a:pt x="218053" y="916922"/>
                  </a:lnTo>
                  <a:lnTo>
                    <a:pt x="200366" y="875095"/>
                  </a:lnTo>
                  <a:lnTo>
                    <a:pt x="186287" y="831512"/>
                  </a:lnTo>
                  <a:lnTo>
                    <a:pt x="176001" y="786357"/>
                  </a:lnTo>
                  <a:lnTo>
                    <a:pt x="169694" y="739816"/>
                  </a:lnTo>
                  <a:lnTo>
                    <a:pt x="167551" y="692073"/>
                  </a:lnTo>
                  <a:lnTo>
                    <a:pt x="169694" y="644333"/>
                  </a:lnTo>
                  <a:lnTo>
                    <a:pt x="176001" y="597793"/>
                  </a:lnTo>
                  <a:lnTo>
                    <a:pt x="186301" y="552597"/>
                  </a:lnTo>
                  <a:lnTo>
                    <a:pt x="200366" y="509057"/>
                  </a:lnTo>
                  <a:lnTo>
                    <a:pt x="218053" y="467230"/>
                  </a:lnTo>
                  <a:lnTo>
                    <a:pt x="239163" y="427345"/>
                  </a:lnTo>
                  <a:lnTo>
                    <a:pt x="263510" y="389587"/>
                  </a:lnTo>
                  <a:lnTo>
                    <a:pt x="290910" y="354140"/>
                  </a:lnTo>
                  <a:lnTo>
                    <a:pt x="321178" y="321190"/>
                  </a:lnTo>
                  <a:lnTo>
                    <a:pt x="354127" y="290923"/>
                  </a:lnTo>
                  <a:lnTo>
                    <a:pt x="389574" y="263523"/>
                  </a:lnTo>
                  <a:lnTo>
                    <a:pt x="427332" y="239175"/>
                  </a:lnTo>
                  <a:lnTo>
                    <a:pt x="467217" y="218065"/>
                  </a:lnTo>
                  <a:lnTo>
                    <a:pt x="509044" y="200378"/>
                  </a:lnTo>
                  <a:lnTo>
                    <a:pt x="552627" y="186300"/>
                  </a:lnTo>
                  <a:lnTo>
                    <a:pt x="597780" y="176014"/>
                  </a:lnTo>
                  <a:lnTo>
                    <a:pt x="644320" y="169707"/>
                  </a:lnTo>
                  <a:lnTo>
                    <a:pt x="692061" y="167563"/>
                  </a:lnTo>
                  <a:lnTo>
                    <a:pt x="692061" y="0"/>
                  </a:lnTo>
                  <a:close/>
                </a:path>
              </a:pathLst>
            </a:custGeom>
            <a:solidFill>
              <a:srgbClr val="95847C"/>
            </a:solidFill>
          </p:spPr>
          <p:txBody>
            <a:bodyPr wrap="square" lIns="0" tIns="0" rIns="0" bIns="0" rtlCol="0"/>
            <a:lstStyle/>
            <a:p>
              <a:endParaRPr dirty="0"/>
            </a:p>
          </p:txBody>
        </p:sp>
        <p:sp>
          <p:nvSpPr>
            <p:cNvPr id="13" name="bk object 148">
              <a:extLst>
                <a:ext uri="{FF2B5EF4-FFF2-40B4-BE49-F238E27FC236}">
                  <a16:creationId xmlns:a16="http://schemas.microsoft.com/office/drawing/2014/main" id="{D8D7CE77-8EDB-442A-A0A6-FF41D195B848}"/>
                </a:ext>
              </a:extLst>
            </p:cNvPr>
            <p:cNvSpPr/>
            <p:nvPr userDrawn="1"/>
          </p:nvSpPr>
          <p:spPr>
            <a:xfrm>
              <a:off x="-935273" y="6523695"/>
              <a:ext cx="1951989" cy="167640"/>
            </a:xfrm>
            <a:custGeom>
              <a:avLst/>
              <a:gdLst/>
              <a:ahLst/>
              <a:cxnLst/>
              <a:rect l="l" t="t" r="r" b="b"/>
              <a:pathLst>
                <a:path w="1951989" h="167640">
                  <a:moveTo>
                    <a:pt x="1500771" y="0"/>
                  </a:moveTo>
                  <a:lnTo>
                    <a:pt x="0" y="0"/>
                  </a:lnTo>
                  <a:lnTo>
                    <a:pt x="0" y="167563"/>
                  </a:lnTo>
                  <a:lnTo>
                    <a:pt x="1951977" y="167563"/>
                  </a:lnTo>
                  <a:lnTo>
                    <a:pt x="1900712" y="165689"/>
                  </a:lnTo>
                  <a:lnTo>
                    <a:pt x="1850467" y="160154"/>
                  </a:lnTo>
                  <a:lnTo>
                    <a:pt x="1801371" y="151090"/>
                  </a:lnTo>
                  <a:lnTo>
                    <a:pt x="1753555" y="138632"/>
                  </a:lnTo>
                  <a:lnTo>
                    <a:pt x="1707148" y="122910"/>
                  </a:lnTo>
                  <a:lnTo>
                    <a:pt x="1662278" y="104058"/>
                  </a:lnTo>
                  <a:lnTo>
                    <a:pt x="1619077" y="82209"/>
                  </a:lnTo>
                  <a:lnTo>
                    <a:pt x="1577672" y="57494"/>
                  </a:lnTo>
                  <a:lnTo>
                    <a:pt x="1538194" y="30047"/>
                  </a:lnTo>
                  <a:lnTo>
                    <a:pt x="1500771" y="0"/>
                  </a:lnTo>
                  <a:close/>
                </a:path>
              </a:pathLst>
            </a:custGeom>
            <a:solidFill>
              <a:srgbClr val="95847C"/>
            </a:solidFill>
          </p:spPr>
          <p:txBody>
            <a:bodyPr wrap="square" lIns="0" tIns="0" rIns="0" bIns="0" rtlCol="0"/>
            <a:lstStyle/>
            <a:p>
              <a:endParaRPr dirty="0"/>
            </a:p>
          </p:txBody>
        </p:sp>
        <p:sp>
          <p:nvSpPr>
            <p:cNvPr id="14" name="bk object 149">
              <a:extLst>
                <a:ext uri="{FF2B5EF4-FFF2-40B4-BE49-F238E27FC236}">
                  <a16:creationId xmlns:a16="http://schemas.microsoft.com/office/drawing/2014/main" id="{1FB17FBE-3057-4346-9FD7-401E111C1AAD}"/>
                </a:ext>
              </a:extLst>
            </p:cNvPr>
            <p:cNvSpPr/>
            <p:nvPr userDrawn="1"/>
          </p:nvSpPr>
          <p:spPr>
            <a:xfrm>
              <a:off x="150992" y="6523701"/>
              <a:ext cx="865718" cy="167563"/>
            </a:xfrm>
            <a:prstGeom prst="rect">
              <a:avLst/>
            </a:prstGeom>
            <a:blipFill>
              <a:blip r:embed="rId10" cstate="print"/>
              <a:stretch>
                <a:fillRect/>
              </a:stretch>
            </a:blipFill>
          </p:spPr>
          <p:txBody>
            <a:bodyPr wrap="square" lIns="0" tIns="0" rIns="0" bIns="0" rtlCol="0"/>
            <a:lstStyle/>
            <a:p>
              <a:endParaRPr dirty="0"/>
            </a:p>
          </p:txBody>
        </p:sp>
        <p:sp>
          <p:nvSpPr>
            <p:cNvPr id="15" name="bk object 150">
              <a:extLst>
                <a:ext uri="{FF2B5EF4-FFF2-40B4-BE49-F238E27FC236}">
                  <a16:creationId xmlns:a16="http://schemas.microsoft.com/office/drawing/2014/main" id="{281E56EB-12E7-49D2-B549-A36CDE254F62}"/>
                </a:ext>
              </a:extLst>
            </p:cNvPr>
            <p:cNvSpPr/>
            <p:nvPr userDrawn="1"/>
          </p:nvSpPr>
          <p:spPr>
            <a:xfrm>
              <a:off x="649798" y="6585609"/>
              <a:ext cx="106045" cy="54610"/>
            </a:xfrm>
            <a:custGeom>
              <a:avLst/>
              <a:gdLst/>
              <a:ahLst/>
              <a:cxnLst/>
              <a:rect l="l" t="t" r="r" b="b"/>
              <a:pathLst>
                <a:path w="106045" h="54609">
                  <a:moveTo>
                    <a:pt x="0" y="0"/>
                  </a:moveTo>
                  <a:lnTo>
                    <a:pt x="34002" y="20295"/>
                  </a:lnTo>
                  <a:lnTo>
                    <a:pt x="77206" y="42145"/>
                  </a:lnTo>
                  <a:lnTo>
                    <a:pt x="105780" y="54150"/>
                  </a:lnTo>
                  <a:lnTo>
                    <a:pt x="77206" y="42144"/>
                  </a:lnTo>
                  <a:lnTo>
                    <a:pt x="34002" y="20295"/>
                  </a:lnTo>
                  <a:lnTo>
                    <a:pt x="0" y="0"/>
                  </a:lnTo>
                  <a:close/>
                </a:path>
              </a:pathLst>
            </a:custGeom>
            <a:solidFill>
              <a:srgbClr val="95847C"/>
            </a:solidFill>
          </p:spPr>
          <p:txBody>
            <a:bodyPr wrap="square" lIns="0" tIns="0" rIns="0" bIns="0" rtlCol="0"/>
            <a:lstStyle/>
            <a:p>
              <a:endParaRPr dirty="0"/>
            </a:p>
          </p:txBody>
        </p:sp>
        <p:sp>
          <p:nvSpPr>
            <p:cNvPr id="16" name="bk object 151">
              <a:extLst>
                <a:ext uri="{FF2B5EF4-FFF2-40B4-BE49-F238E27FC236}">
                  <a16:creationId xmlns:a16="http://schemas.microsoft.com/office/drawing/2014/main" id="{40730AA8-025D-493B-B2B5-19B503C72748}"/>
                </a:ext>
              </a:extLst>
            </p:cNvPr>
            <p:cNvSpPr/>
            <p:nvPr userDrawn="1"/>
          </p:nvSpPr>
          <p:spPr>
            <a:xfrm>
              <a:off x="1977703" y="6523695"/>
              <a:ext cx="952500" cy="167640"/>
            </a:xfrm>
            <a:custGeom>
              <a:avLst/>
              <a:gdLst/>
              <a:ahLst/>
              <a:cxnLst/>
              <a:rect l="l" t="t" r="r" b="b"/>
              <a:pathLst>
                <a:path w="952500" h="167640">
                  <a:moveTo>
                    <a:pt x="501116" y="0"/>
                  </a:moveTo>
                  <a:lnTo>
                    <a:pt x="0" y="0"/>
                  </a:lnTo>
                  <a:lnTo>
                    <a:pt x="0" y="167563"/>
                  </a:lnTo>
                  <a:lnTo>
                    <a:pt x="952334" y="167563"/>
                  </a:lnTo>
                  <a:lnTo>
                    <a:pt x="901066" y="165689"/>
                  </a:lnTo>
                  <a:lnTo>
                    <a:pt x="850818" y="160154"/>
                  </a:lnTo>
                  <a:lnTo>
                    <a:pt x="801721" y="151090"/>
                  </a:lnTo>
                  <a:lnTo>
                    <a:pt x="753903" y="138632"/>
                  </a:lnTo>
                  <a:lnTo>
                    <a:pt x="707494" y="122910"/>
                  </a:lnTo>
                  <a:lnTo>
                    <a:pt x="662624" y="104058"/>
                  </a:lnTo>
                  <a:lnTo>
                    <a:pt x="619422" y="82209"/>
                  </a:lnTo>
                  <a:lnTo>
                    <a:pt x="578017" y="57494"/>
                  </a:lnTo>
                  <a:lnTo>
                    <a:pt x="538538" y="30047"/>
                  </a:lnTo>
                  <a:lnTo>
                    <a:pt x="501116" y="0"/>
                  </a:lnTo>
                  <a:close/>
                </a:path>
              </a:pathLst>
            </a:custGeom>
            <a:solidFill>
              <a:srgbClr val="E23A5A"/>
            </a:solidFill>
          </p:spPr>
          <p:txBody>
            <a:bodyPr wrap="square" lIns="0" tIns="0" rIns="0" bIns="0" rtlCol="0"/>
            <a:lstStyle/>
            <a:p>
              <a:endParaRPr dirty="0"/>
            </a:p>
          </p:txBody>
        </p:sp>
        <p:sp>
          <p:nvSpPr>
            <p:cNvPr id="17" name="bk object 152">
              <a:extLst>
                <a:ext uri="{FF2B5EF4-FFF2-40B4-BE49-F238E27FC236}">
                  <a16:creationId xmlns:a16="http://schemas.microsoft.com/office/drawing/2014/main" id="{BD2FB1A2-1312-4897-93D7-60C6C1DB8A7F}"/>
                </a:ext>
              </a:extLst>
            </p:cNvPr>
            <p:cNvSpPr/>
            <p:nvPr userDrawn="1"/>
          </p:nvSpPr>
          <p:spPr>
            <a:xfrm>
              <a:off x="2055992" y="6523701"/>
              <a:ext cx="874049" cy="167563"/>
            </a:xfrm>
            <a:prstGeom prst="rect">
              <a:avLst/>
            </a:prstGeom>
            <a:blipFill>
              <a:blip r:embed="rId11" cstate="print"/>
              <a:stretch>
                <a:fillRect/>
              </a:stretch>
            </a:blipFill>
          </p:spPr>
          <p:txBody>
            <a:bodyPr wrap="square" lIns="0" tIns="0" rIns="0" bIns="0" rtlCol="0"/>
            <a:lstStyle/>
            <a:p>
              <a:endParaRPr dirty="0"/>
            </a:p>
          </p:txBody>
        </p:sp>
        <p:sp>
          <p:nvSpPr>
            <p:cNvPr id="18" name="bk object 153">
              <a:extLst>
                <a:ext uri="{FF2B5EF4-FFF2-40B4-BE49-F238E27FC236}">
                  <a16:creationId xmlns:a16="http://schemas.microsoft.com/office/drawing/2014/main" id="{A071CC6E-7223-4F51-A44A-66A10BB7BE92}"/>
                </a:ext>
              </a:extLst>
            </p:cNvPr>
            <p:cNvSpPr/>
            <p:nvPr userDrawn="1"/>
          </p:nvSpPr>
          <p:spPr>
            <a:xfrm>
              <a:off x="2478821" y="6523701"/>
              <a:ext cx="220802" cy="127791"/>
            </a:xfrm>
            <a:prstGeom prst="rect">
              <a:avLst/>
            </a:prstGeom>
            <a:blipFill>
              <a:blip r:embed="rId12" cstate="print"/>
              <a:stretch>
                <a:fillRect/>
              </a:stretch>
            </a:blipFill>
          </p:spPr>
          <p:txBody>
            <a:bodyPr wrap="square" lIns="0" tIns="0" rIns="0" bIns="0" rtlCol="0"/>
            <a:lstStyle/>
            <a:p>
              <a:endParaRPr dirty="0"/>
            </a:p>
          </p:txBody>
        </p:sp>
        <p:sp>
          <p:nvSpPr>
            <p:cNvPr id="19" name="bk object 154">
              <a:extLst>
                <a:ext uri="{FF2B5EF4-FFF2-40B4-BE49-F238E27FC236}">
                  <a16:creationId xmlns:a16="http://schemas.microsoft.com/office/drawing/2014/main" id="{ED169D5A-2A1B-4D1C-84C0-86AE49463EB3}"/>
                </a:ext>
              </a:extLst>
            </p:cNvPr>
            <p:cNvSpPr/>
            <p:nvPr userDrawn="1"/>
          </p:nvSpPr>
          <p:spPr>
            <a:xfrm>
              <a:off x="1016707" y="5307113"/>
              <a:ext cx="692150" cy="1216660"/>
            </a:xfrm>
            <a:custGeom>
              <a:avLst/>
              <a:gdLst/>
              <a:ahLst/>
              <a:cxnLst/>
              <a:rect l="l" t="t" r="r" b="b"/>
              <a:pathLst>
                <a:path w="692150" h="1216659">
                  <a:moveTo>
                    <a:pt x="0" y="0"/>
                  </a:moveTo>
                  <a:lnTo>
                    <a:pt x="0" y="167563"/>
                  </a:lnTo>
                  <a:lnTo>
                    <a:pt x="47742" y="169707"/>
                  </a:lnTo>
                  <a:lnTo>
                    <a:pt x="94283" y="176014"/>
                  </a:lnTo>
                  <a:lnTo>
                    <a:pt x="139439" y="186300"/>
                  </a:lnTo>
                  <a:lnTo>
                    <a:pt x="183023" y="200378"/>
                  </a:lnTo>
                  <a:lnTo>
                    <a:pt x="224851" y="218065"/>
                  </a:lnTo>
                  <a:lnTo>
                    <a:pt x="264737" y="239175"/>
                  </a:lnTo>
                  <a:lnTo>
                    <a:pt x="302496" y="263523"/>
                  </a:lnTo>
                  <a:lnTo>
                    <a:pt x="337943" y="290923"/>
                  </a:lnTo>
                  <a:lnTo>
                    <a:pt x="370893" y="321190"/>
                  </a:lnTo>
                  <a:lnTo>
                    <a:pt x="401161" y="354140"/>
                  </a:lnTo>
                  <a:lnTo>
                    <a:pt x="428562" y="389587"/>
                  </a:lnTo>
                  <a:lnTo>
                    <a:pt x="452910" y="427345"/>
                  </a:lnTo>
                  <a:lnTo>
                    <a:pt x="474020" y="467230"/>
                  </a:lnTo>
                  <a:lnTo>
                    <a:pt x="491707" y="509057"/>
                  </a:lnTo>
                  <a:lnTo>
                    <a:pt x="505786" y="552639"/>
                  </a:lnTo>
                  <a:lnTo>
                    <a:pt x="516071" y="597793"/>
                  </a:lnTo>
                  <a:lnTo>
                    <a:pt x="522379" y="644333"/>
                  </a:lnTo>
                  <a:lnTo>
                    <a:pt x="524522" y="692073"/>
                  </a:lnTo>
                  <a:lnTo>
                    <a:pt x="522379" y="739816"/>
                  </a:lnTo>
                  <a:lnTo>
                    <a:pt x="516071" y="786357"/>
                  </a:lnTo>
                  <a:lnTo>
                    <a:pt x="505786" y="831512"/>
                  </a:lnTo>
                  <a:lnTo>
                    <a:pt x="491707" y="875095"/>
                  </a:lnTo>
                  <a:lnTo>
                    <a:pt x="474020" y="916922"/>
                  </a:lnTo>
                  <a:lnTo>
                    <a:pt x="452910" y="956807"/>
                  </a:lnTo>
                  <a:lnTo>
                    <a:pt x="428562" y="994565"/>
                  </a:lnTo>
                  <a:lnTo>
                    <a:pt x="401161" y="1030012"/>
                  </a:lnTo>
                  <a:lnTo>
                    <a:pt x="370893" y="1062961"/>
                  </a:lnTo>
                  <a:lnTo>
                    <a:pt x="337943" y="1093228"/>
                  </a:lnTo>
                  <a:lnTo>
                    <a:pt x="302496" y="1120627"/>
                  </a:lnTo>
                  <a:lnTo>
                    <a:pt x="264737" y="1144974"/>
                  </a:lnTo>
                  <a:lnTo>
                    <a:pt x="224851" y="1166083"/>
                  </a:lnTo>
                  <a:lnTo>
                    <a:pt x="183023" y="1183770"/>
                  </a:lnTo>
                  <a:lnTo>
                    <a:pt x="139439" y="1197848"/>
                  </a:lnTo>
                  <a:lnTo>
                    <a:pt x="94283" y="1208133"/>
                  </a:lnTo>
                  <a:lnTo>
                    <a:pt x="47742" y="1214440"/>
                  </a:lnTo>
                  <a:lnTo>
                    <a:pt x="0" y="1216583"/>
                  </a:lnTo>
                  <a:lnTo>
                    <a:pt x="451218" y="1216583"/>
                  </a:lnTo>
                  <a:lnTo>
                    <a:pt x="486923" y="1183609"/>
                  </a:lnTo>
                  <a:lnTo>
                    <a:pt x="520243" y="1148232"/>
                  </a:lnTo>
                  <a:lnTo>
                    <a:pt x="551040" y="1110588"/>
                  </a:lnTo>
                  <a:lnTo>
                    <a:pt x="579177" y="1070812"/>
                  </a:lnTo>
                  <a:lnTo>
                    <a:pt x="604517" y="1029039"/>
                  </a:lnTo>
                  <a:lnTo>
                    <a:pt x="626924" y="985404"/>
                  </a:lnTo>
                  <a:lnTo>
                    <a:pt x="646259" y="940042"/>
                  </a:lnTo>
                  <a:lnTo>
                    <a:pt x="662387" y="893090"/>
                  </a:lnTo>
                  <a:lnTo>
                    <a:pt x="675169" y="844681"/>
                  </a:lnTo>
                  <a:lnTo>
                    <a:pt x="684469" y="794952"/>
                  </a:lnTo>
                  <a:lnTo>
                    <a:pt x="690149" y="744038"/>
                  </a:lnTo>
                  <a:lnTo>
                    <a:pt x="692073" y="692073"/>
                  </a:lnTo>
                  <a:lnTo>
                    <a:pt x="690477" y="644690"/>
                  </a:lnTo>
                  <a:lnTo>
                    <a:pt x="685756" y="598164"/>
                  </a:lnTo>
                  <a:lnTo>
                    <a:pt x="678013" y="552597"/>
                  </a:lnTo>
                  <a:lnTo>
                    <a:pt x="667352" y="508094"/>
                  </a:lnTo>
                  <a:lnTo>
                    <a:pt x="653876" y="464756"/>
                  </a:lnTo>
                  <a:lnTo>
                    <a:pt x="637688" y="422688"/>
                  </a:lnTo>
                  <a:lnTo>
                    <a:pt x="618891" y="381992"/>
                  </a:lnTo>
                  <a:lnTo>
                    <a:pt x="597587" y="342772"/>
                  </a:lnTo>
                  <a:lnTo>
                    <a:pt x="573881" y="305129"/>
                  </a:lnTo>
                  <a:lnTo>
                    <a:pt x="547874" y="269169"/>
                  </a:lnTo>
                  <a:lnTo>
                    <a:pt x="519671" y="234993"/>
                  </a:lnTo>
                  <a:lnTo>
                    <a:pt x="489373" y="202704"/>
                  </a:lnTo>
                  <a:lnTo>
                    <a:pt x="457085" y="172406"/>
                  </a:lnTo>
                  <a:lnTo>
                    <a:pt x="422909" y="144203"/>
                  </a:lnTo>
                  <a:lnTo>
                    <a:pt x="386949" y="118196"/>
                  </a:lnTo>
                  <a:lnTo>
                    <a:pt x="349307" y="94488"/>
                  </a:lnTo>
                  <a:lnTo>
                    <a:pt x="310086" y="73184"/>
                  </a:lnTo>
                  <a:lnTo>
                    <a:pt x="269390" y="54386"/>
                  </a:lnTo>
                  <a:lnTo>
                    <a:pt x="227322" y="38198"/>
                  </a:lnTo>
                  <a:lnTo>
                    <a:pt x="183984" y="24721"/>
                  </a:lnTo>
                  <a:lnTo>
                    <a:pt x="139479" y="14060"/>
                  </a:lnTo>
                  <a:lnTo>
                    <a:pt x="93912" y="6317"/>
                  </a:lnTo>
                  <a:lnTo>
                    <a:pt x="47384" y="1596"/>
                  </a:lnTo>
                  <a:lnTo>
                    <a:pt x="0" y="0"/>
                  </a:lnTo>
                  <a:close/>
                </a:path>
              </a:pathLst>
            </a:custGeom>
            <a:solidFill>
              <a:srgbClr val="95847C"/>
            </a:solidFill>
          </p:spPr>
          <p:txBody>
            <a:bodyPr wrap="square" lIns="0" tIns="0" rIns="0" bIns="0" rtlCol="0"/>
            <a:lstStyle/>
            <a:p>
              <a:endParaRPr dirty="0"/>
            </a:p>
          </p:txBody>
        </p:sp>
        <p:sp>
          <p:nvSpPr>
            <p:cNvPr id="20" name="bk object 155">
              <a:extLst>
                <a:ext uri="{FF2B5EF4-FFF2-40B4-BE49-F238E27FC236}">
                  <a16:creationId xmlns:a16="http://schemas.microsoft.com/office/drawing/2014/main" id="{B64FC320-A9DC-436D-B6F7-B8890745E975}"/>
                </a:ext>
              </a:extLst>
            </p:cNvPr>
            <p:cNvSpPr/>
            <p:nvPr userDrawn="1"/>
          </p:nvSpPr>
          <p:spPr>
            <a:xfrm>
              <a:off x="1016707" y="5999185"/>
              <a:ext cx="692077" cy="524515"/>
            </a:xfrm>
            <a:prstGeom prst="rect">
              <a:avLst/>
            </a:prstGeom>
            <a:blipFill>
              <a:blip r:embed="rId13" cstate="print"/>
              <a:stretch>
                <a:fillRect/>
              </a:stretch>
            </a:blipFill>
          </p:spPr>
          <p:txBody>
            <a:bodyPr wrap="square" lIns="0" tIns="0" rIns="0" bIns="0" rtlCol="0"/>
            <a:lstStyle/>
            <a:p>
              <a:endParaRPr dirty="0"/>
            </a:p>
          </p:txBody>
        </p:sp>
        <p:sp>
          <p:nvSpPr>
            <p:cNvPr id="21" name="bk object 156">
              <a:extLst>
                <a:ext uri="{FF2B5EF4-FFF2-40B4-BE49-F238E27FC236}">
                  <a16:creationId xmlns:a16="http://schemas.microsoft.com/office/drawing/2014/main" id="{EAF8B876-6B07-49ED-8FD1-23494897A88C}"/>
                </a:ext>
              </a:extLst>
            </p:cNvPr>
            <p:cNvSpPr/>
            <p:nvPr userDrawn="1"/>
          </p:nvSpPr>
          <p:spPr>
            <a:xfrm>
              <a:off x="2246628" y="5307111"/>
              <a:ext cx="12129770" cy="1384300"/>
            </a:xfrm>
            <a:custGeom>
              <a:avLst/>
              <a:gdLst/>
              <a:ahLst/>
              <a:cxnLst/>
              <a:rect l="l" t="t" r="r" b="b"/>
              <a:pathLst>
                <a:path w="12129769" h="1384300">
                  <a:moveTo>
                    <a:pt x="692073" y="0"/>
                  </a:moveTo>
                  <a:lnTo>
                    <a:pt x="644689" y="1596"/>
                  </a:lnTo>
                  <a:lnTo>
                    <a:pt x="598161" y="6317"/>
                  </a:lnTo>
                  <a:lnTo>
                    <a:pt x="552593" y="14060"/>
                  </a:lnTo>
                  <a:lnTo>
                    <a:pt x="508089" y="24721"/>
                  </a:lnTo>
                  <a:lnTo>
                    <a:pt x="464751" y="38198"/>
                  </a:lnTo>
                  <a:lnTo>
                    <a:pt x="422683" y="54386"/>
                  </a:lnTo>
                  <a:lnTo>
                    <a:pt x="381987" y="73184"/>
                  </a:lnTo>
                  <a:lnTo>
                    <a:pt x="342766" y="94488"/>
                  </a:lnTo>
                  <a:lnTo>
                    <a:pt x="305124" y="118196"/>
                  </a:lnTo>
                  <a:lnTo>
                    <a:pt x="269163" y="144203"/>
                  </a:lnTo>
                  <a:lnTo>
                    <a:pt x="234988" y="172406"/>
                  </a:lnTo>
                  <a:lnTo>
                    <a:pt x="202699" y="202704"/>
                  </a:lnTo>
                  <a:lnTo>
                    <a:pt x="172402" y="234993"/>
                  </a:lnTo>
                  <a:lnTo>
                    <a:pt x="144199" y="269169"/>
                  </a:lnTo>
                  <a:lnTo>
                    <a:pt x="118192" y="305129"/>
                  </a:lnTo>
                  <a:lnTo>
                    <a:pt x="94486" y="342772"/>
                  </a:lnTo>
                  <a:lnTo>
                    <a:pt x="73182" y="381992"/>
                  </a:lnTo>
                  <a:lnTo>
                    <a:pt x="54385" y="422688"/>
                  </a:lnTo>
                  <a:lnTo>
                    <a:pt x="38196" y="464756"/>
                  </a:lnTo>
                  <a:lnTo>
                    <a:pt x="24720" y="508094"/>
                  </a:lnTo>
                  <a:lnTo>
                    <a:pt x="14052" y="552639"/>
                  </a:lnTo>
                  <a:lnTo>
                    <a:pt x="6317" y="598164"/>
                  </a:lnTo>
                  <a:lnTo>
                    <a:pt x="1596" y="644690"/>
                  </a:lnTo>
                  <a:lnTo>
                    <a:pt x="0" y="692073"/>
                  </a:lnTo>
                  <a:lnTo>
                    <a:pt x="1923" y="744038"/>
                  </a:lnTo>
                  <a:lnTo>
                    <a:pt x="7604" y="794952"/>
                  </a:lnTo>
                  <a:lnTo>
                    <a:pt x="16904" y="844681"/>
                  </a:lnTo>
                  <a:lnTo>
                    <a:pt x="29686" y="893090"/>
                  </a:lnTo>
                  <a:lnTo>
                    <a:pt x="45812" y="940042"/>
                  </a:lnTo>
                  <a:lnTo>
                    <a:pt x="65147" y="985404"/>
                  </a:lnTo>
                  <a:lnTo>
                    <a:pt x="87553" y="1029039"/>
                  </a:lnTo>
                  <a:lnTo>
                    <a:pt x="112892" y="1070812"/>
                  </a:lnTo>
                  <a:lnTo>
                    <a:pt x="141028" y="1110588"/>
                  </a:lnTo>
                  <a:lnTo>
                    <a:pt x="171823" y="1148232"/>
                  </a:lnTo>
                  <a:lnTo>
                    <a:pt x="205140" y="1183609"/>
                  </a:lnTo>
                  <a:lnTo>
                    <a:pt x="240842" y="1216583"/>
                  </a:lnTo>
                  <a:lnTo>
                    <a:pt x="278265" y="1246630"/>
                  </a:lnTo>
                  <a:lnTo>
                    <a:pt x="317744" y="1274078"/>
                  </a:lnTo>
                  <a:lnTo>
                    <a:pt x="359151" y="1298792"/>
                  </a:lnTo>
                  <a:lnTo>
                    <a:pt x="402355" y="1320642"/>
                  </a:lnTo>
                  <a:lnTo>
                    <a:pt x="447227" y="1339494"/>
                  </a:lnTo>
                  <a:lnTo>
                    <a:pt x="493637" y="1355215"/>
                  </a:lnTo>
                  <a:lnTo>
                    <a:pt x="541457" y="1367674"/>
                  </a:lnTo>
                  <a:lnTo>
                    <a:pt x="590556" y="1376737"/>
                  </a:lnTo>
                  <a:lnTo>
                    <a:pt x="640804" y="1382273"/>
                  </a:lnTo>
                  <a:lnTo>
                    <a:pt x="692073" y="1384147"/>
                  </a:lnTo>
                  <a:lnTo>
                    <a:pt x="12129770" y="1384147"/>
                  </a:lnTo>
                  <a:lnTo>
                    <a:pt x="12129770" y="1216583"/>
                  </a:lnTo>
                  <a:lnTo>
                    <a:pt x="692073" y="1216583"/>
                  </a:lnTo>
                  <a:lnTo>
                    <a:pt x="644331" y="1214440"/>
                  </a:lnTo>
                  <a:lnTo>
                    <a:pt x="597789" y="1208133"/>
                  </a:lnTo>
                  <a:lnTo>
                    <a:pt x="552634" y="1197848"/>
                  </a:lnTo>
                  <a:lnTo>
                    <a:pt x="509050" y="1183770"/>
                  </a:lnTo>
                  <a:lnTo>
                    <a:pt x="467222" y="1166083"/>
                  </a:lnTo>
                  <a:lnTo>
                    <a:pt x="427336" y="1144974"/>
                  </a:lnTo>
                  <a:lnTo>
                    <a:pt x="389577" y="1120627"/>
                  </a:lnTo>
                  <a:lnTo>
                    <a:pt x="354130" y="1093228"/>
                  </a:lnTo>
                  <a:lnTo>
                    <a:pt x="321179" y="1062961"/>
                  </a:lnTo>
                  <a:lnTo>
                    <a:pt x="290911" y="1030012"/>
                  </a:lnTo>
                  <a:lnTo>
                    <a:pt x="263511" y="994565"/>
                  </a:lnTo>
                  <a:lnTo>
                    <a:pt x="239163" y="956807"/>
                  </a:lnTo>
                  <a:lnTo>
                    <a:pt x="218053" y="916922"/>
                  </a:lnTo>
                  <a:lnTo>
                    <a:pt x="200366" y="875095"/>
                  </a:lnTo>
                  <a:lnTo>
                    <a:pt x="186287" y="831512"/>
                  </a:lnTo>
                  <a:lnTo>
                    <a:pt x="176001" y="786357"/>
                  </a:lnTo>
                  <a:lnTo>
                    <a:pt x="169694" y="739816"/>
                  </a:lnTo>
                  <a:lnTo>
                    <a:pt x="167551" y="692073"/>
                  </a:lnTo>
                  <a:lnTo>
                    <a:pt x="169694" y="644333"/>
                  </a:lnTo>
                  <a:lnTo>
                    <a:pt x="176001" y="597793"/>
                  </a:lnTo>
                  <a:lnTo>
                    <a:pt x="186301" y="552597"/>
                  </a:lnTo>
                  <a:lnTo>
                    <a:pt x="200366" y="509057"/>
                  </a:lnTo>
                  <a:lnTo>
                    <a:pt x="218053" y="467230"/>
                  </a:lnTo>
                  <a:lnTo>
                    <a:pt x="239163" y="427345"/>
                  </a:lnTo>
                  <a:lnTo>
                    <a:pt x="263511" y="389587"/>
                  </a:lnTo>
                  <a:lnTo>
                    <a:pt x="290911" y="354140"/>
                  </a:lnTo>
                  <a:lnTo>
                    <a:pt x="321179" y="321190"/>
                  </a:lnTo>
                  <a:lnTo>
                    <a:pt x="354130" y="290923"/>
                  </a:lnTo>
                  <a:lnTo>
                    <a:pt x="389577" y="263523"/>
                  </a:lnTo>
                  <a:lnTo>
                    <a:pt x="427336" y="239175"/>
                  </a:lnTo>
                  <a:lnTo>
                    <a:pt x="467222" y="218065"/>
                  </a:lnTo>
                  <a:lnTo>
                    <a:pt x="509050" y="200378"/>
                  </a:lnTo>
                  <a:lnTo>
                    <a:pt x="552634" y="186300"/>
                  </a:lnTo>
                  <a:lnTo>
                    <a:pt x="597789" y="176014"/>
                  </a:lnTo>
                  <a:lnTo>
                    <a:pt x="644331" y="169707"/>
                  </a:lnTo>
                  <a:lnTo>
                    <a:pt x="692073" y="167563"/>
                  </a:lnTo>
                  <a:lnTo>
                    <a:pt x="692073" y="0"/>
                  </a:lnTo>
                  <a:close/>
                </a:path>
              </a:pathLst>
            </a:custGeom>
            <a:solidFill>
              <a:srgbClr val="E23A5A"/>
            </a:solidFill>
          </p:spPr>
          <p:txBody>
            <a:bodyPr wrap="square" lIns="0" tIns="0" rIns="0" bIns="0" rtlCol="0"/>
            <a:lstStyle/>
            <a:p>
              <a:endParaRPr dirty="0"/>
            </a:p>
          </p:txBody>
        </p:sp>
        <p:sp>
          <p:nvSpPr>
            <p:cNvPr id="22" name="bk object 157">
              <a:extLst>
                <a:ext uri="{FF2B5EF4-FFF2-40B4-BE49-F238E27FC236}">
                  <a16:creationId xmlns:a16="http://schemas.microsoft.com/office/drawing/2014/main" id="{AE8E4B83-7AB5-4D99-986D-A86B2DA88F85}"/>
                </a:ext>
              </a:extLst>
            </p:cNvPr>
            <p:cNvSpPr/>
            <p:nvPr userDrawn="1"/>
          </p:nvSpPr>
          <p:spPr>
            <a:xfrm>
              <a:off x="2938698" y="5307113"/>
              <a:ext cx="692150" cy="1216660"/>
            </a:xfrm>
            <a:custGeom>
              <a:avLst/>
              <a:gdLst/>
              <a:ahLst/>
              <a:cxnLst/>
              <a:rect l="l" t="t" r="r" b="b"/>
              <a:pathLst>
                <a:path w="692150" h="1216659">
                  <a:moveTo>
                    <a:pt x="0" y="0"/>
                  </a:moveTo>
                  <a:lnTo>
                    <a:pt x="0" y="167563"/>
                  </a:lnTo>
                  <a:lnTo>
                    <a:pt x="47742" y="169707"/>
                  </a:lnTo>
                  <a:lnTo>
                    <a:pt x="94283" y="176014"/>
                  </a:lnTo>
                  <a:lnTo>
                    <a:pt x="139438" y="186300"/>
                  </a:lnTo>
                  <a:lnTo>
                    <a:pt x="183021" y="200378"/>
                  </a:lnTo>
                  <a:lnTo>
                    <a:pt x="224848" y="218065"/>
                  </a:lnTo>
                  <a:lnTo>
                    <a:pt x="264733" y="239175"/>
                  </a:lnTo>
                  <a:lnTo>
                    <a:pt x="302492" y="263523"/>
                  </a:lnTo>
                  <a:lnTo>
                    <a:pt x="337938" y="290923"/>
                  </a:lnTo>
                  <a:lnTo>
                    <a:pt x="370887" y="321190"/>
                  </a:lnTo>
                  <a:lnTo>
                    <a:pt x="401154" y="354140"/>
                  </a:lnTo>
                  <a:lnTo>
                    <a:pt x="428553" y="389587"/>
                  </a:lnTo>
                  <a:lnTo>
                    <a:pt x="452900" y="427345"/>
                  </a:lnTo>
                  <a:lnTo>
                    <a:pt x="474009" y="467230"/>
                  </a:lnTo>
                  <a:lnTo>
                    <a:pt x="491696" y="509057"/>
                  </a:lnTo>
                  <a:lnTo>
                    <a:pt x="505774" y="552639"/>
                  </a:lnTo>
                  <a:lnTo>
                    <a:pt x="516059" y="597793"/>
                  </a:lnTo>
                  <a:lnTo>
                    <a:pt x="522366" y="644333"/>
                  </a:lnTo>
                  <a:lnTo>
                    <a:pt x="524510" y="692073"/>
                  </a:lnTo>
                  <a:lnTo>
                    <a:pt x="522366" y="739816"/>
                  </a:lnTo>
                  <a:lnTo>
                    <a:pt x="516059" y="786357"/>
                  </a:lnTo>
                  <a:lnTo>
                    <a:pt x="505774" y="831512"/>
                  </a:lnTo>
                  <a:lnTo>
                    <a:pt x="491696" y="875095"/>
                  </a:lnTo>
                  <a:lnTo>
                    <a:pt x="474009" y="916922"/>
                  </a:lnTo>
                  <a:lnTo>
                    <a:pt x="452900" y="956807"/>
                  </a:lnTo>
                  <a:lnTo>
                    <a:pt x="428553" y="994565"/>
                  </a:lnTo>
                  <a:lnTo>
                    <a:pt x="401154" y="1030012"/>
                  </a:lnTo>
                  <a:lnTo>
                    <a:pt x="370887" y="1062961"/>
                  </a:lnTo>
                  <a:lnTo>
                    <a:pt x="337938" y="1093228"/>
                  </a:lnTo>
                  <a:lnTo>
                    <a:pt x="302492" y="1120627"/>
                  </a:lnTo>
                  <a:lnTo>
                    <a:pt x="264733" y="1144974"/>
                  </a:lnTo>
                  <a:lnTo>
                    <a:pt x="224848" y="1166083"/>
                  </a:lnTo>
                  <a:lnTo>
                    <a:pt x="183021" y="1183770"/>
                  </a:lnTo>
                  <a:lnTo>
                    <a:pt x="139438" y="1197848"/>
                  </a:lnTo>
                  <a:lnTo>
                    <a:pt x="94283" y="1208133"/>
                  </a:lnTo>
                  <a:lnTo>
                    <a:pt x="47742" y="1214440"/>
                  </a:lnTo>
                  <a:lnTo>
                    <a:pt x="0" y="1216583"/>
                  </a:lnTo>
                  <a:lnTo>
                    <a:pt x="451218" y="1216583"/>
                  </a:lnTo>
                  <a:lnTo>
                    <a:pt x="486920" y="1183609"/>
                  </a:lnTo>
                  <a:lnTo>
                    <a:pt x="520238" y="1148232"/>
                  </a:lnTo>
                  <a:lnTo>
                    <a:pt x="551034" y="1110588"/>
                  </a:lnTo>
                  <a:lnTo>
                    <a:pt x="579171" y="1070812"/>
                  </a:lnTo>
                  <a:lnTo>
                    <a:pt x="604512" y="1029039"/>
                  </a:lnTo>
                  <a:lnTo>
                    <a:pt x="626919" y="985404"/>
                  </a:lnTo>
                  <a:lnTo>
                    <a:pt x="646256" y="940042"/>
                  </a:lnTo>
                  <a:lnTo>
                    <a:pt x="662384" y="893090"/>
                  </a:lnTo>
                  <a:lnTo>
                    <a:pt x="675167" y="844681"/>
                  </a:lnTo>
                  <a:lnTo>
                    <a:pt x="684468" y="794952"/>
                  </a:lnTo>
                  <a:lnTo>
                    <a:pt x="690149" y="744038"/>
                  </a:lnTo>
                  <a:lnTo>
                    <a:pt x="692073" y="692073"/>
                  </a:lnTo>
                  <a:lnTo>
                    <a:pt x="690477" y="644690"/>
                  </a:lnTo>
                  <a:lnTo>
                    <a:pt x="685755" y="598164"/>
                  </a:lnTo>
                  <a:lnTo>
                    <a:pt x="678013" y="552597"/>
                  </a:lnTo>
                  <a:lnTo>
                    <a:pt x="667352" y="508094"/>
                  </a:lnTo>
                  <a:lnTo>
                    <a:pt x="653875" y="464756"/>
                  </a:lnTo>
                  <a:lnTo>
                    <a:pt x="637686" y="422688"/>
                  </a:lnTo>
                  <a:lnTo>
                    <a:pt x="618888" y="381992"/>
                  </a:lnTo>
                  <a:lnTo>
                    <a:pt x="597584" y="342772"/>
                  </a:lnTo>
                  <a:lnTo>
                    <a:pt x="573877" y="305129"/>
                  </a:lnTo>
                  <a:lnTo>
                    <a:pt x="547870" y="269169"/>
                  </a:lnTo>
                  <a:lnTo>
                    <a:pt x="519666" y="234993"/>
                  </a:lnTo>
                  <a:lnTo>
                    <a:pt x="489369" y="202704"/>
                  </a:lnTo>
                  <a:lnTo>
                    <a:pt x="457080" y="172406"/>
                  </a:lnTo>
                  <a:lnTo>
                    <a:pt x="422904" y="144203"/>
                  </a:lnTo>
                  <a:lnTo>
                    <a:pt x="386943" y="118196"/>
                  </a:lnTo>
                  <a:lnTo>
                    <a:pt x="349301" y="94488"/>
                  </a:lnTo>
                  <a:lnTo>
                    <a:pt x="310081" y="73184"/>
                  </a:lnTo>
                  <a:lnTo>
                    <a:pt x="269385" y="54386"/>
                  </a:lnTo>
                  <a:lnTo>
                    <a:pt x="227317" y="38198"/>
                  </a:lnTo>
                  <a:lnTo>
                    <a:pt x="183979" y="24721"/>
                  </a:lnTo>
                  <a:lnTo>
                    <a:pt x="139476" y="14060"/>
                  </a:lnTo>
                  <a:lnTo>
                    <a:pt x="93909" y="6317"/>
                  </a:lnTo>
                  <a:lnTo>
                    <a:pt x="47383" y="1596"/>
                  </a:lnTo>
                  <a:lnTo>
                    <a:pt x="0" y="0"/>
                  </a:lnTo>
                  <a:close/>
                </a:path>
              </a:pathLst>
            </a:custGeom>
            <a:solidFill>
              <a:srgbClr val="E23A5A"/>
            </a:solidFill>
          </p:spPr>
          <p:txBody>
            <a:bodyPr wrap="square" lIns="0" tIns="0" rIns="0" bIns="0" rtlCol="0"/>
            <a:lstStyle/>
            <a:p>
              <a:endParaRPr dirty="0"/>
            </a:p>
          </p:txBody>
        </p:sp>
        <p:sp>
          <p:nvSpPr>
            <p:cNvPr id="23" name="bk object 158">
              <a:extLst>
                <a:ext uri="{FF2B5EF4-FFF2-40B4-BE49-F238E27FC236}">
                  <a16:creationId xmlns:a16="http://schemas.microsoft.com/office/drawing/2014/main" id="{CD063679-694F-40CF-96CA-A442082D9398}"/>
                </a:ext>
              </a:extLst>
            </p:cNvPr>
            <p:cNvSpPr/>
            <p:nvPr userDrawn="1"/>
          </p:nvSpPr>
          <p:spPr>
            <a:xfrm>
              <a:off x="2938698" y="5999185"/>
              <a:ext cx="692078" cy="524515"/>
            </a:xfrm>
            <a:prstGeom prst="rect">
              <a:avLst/>
            </a:prstGeom>
            <a:blipFill>
              <a:blip r:embed="rId14" cstate="print"/>
              <a:stretch>
                <a:fillRect/>
              </a:stretch>
            </a:blipFill>
          </p:spPr>
          <p:txBody>
            <a:bodyPr wrap="square" lIns="0" tIns="0" rIns="0" bIns="0" rtlCol="0"/>
            <a:lstStyle/>
            <a:p>
              <a:endParaRPr dirty="0"/>
            </a:p>
          </p:txBody>
        </p:sp>
        <p:sp>
          <p:nvSpPr>
            <p:cNvPr id="24" name="bk object 159">
              <a:extLst>
                <a:ext uri="{FF2B5EF4-FFF2-40B4-BE49-F238E27FC236}">
                  <a16:creationId xmlns:a16="http://schemas.microsoft.com/office/drawing/2014/main" id="{69A84271-B6C8-440A-A683-60E4A75E3718}"/>
                </a:ext>
              </a:extLst>
            </p:cNvPr>
            <p:cNvSpPr/>
            <p:nvPr userDrawn="1"/>
          </p:nvSpPr>
          <p:spPr>
            <a:xfrm>
              <a:off x="-1597342" y="5307111"/>
              <a:ext cx="1652905" cy="1384300"/>
            </a:xfrm>
            <a:custGeom>
              <a:avLst/>
              <a:gdLst/>
              <a:ahLst/>
              <a:cxnLst/>
              <a:rect l="l" t="t" r="r" b="b"/>
              <a:pathLst>
                <a:path w="1652905" h="1384300">
                  <a:moveTo>
                    <a:pt x="692073" y="0"/>
                  </a:moveTo>
                  <a:lnTo>
                    <a:pt x="644690" y="1596"/>
                  </a:lnTo>
                  <a:lnTo>
                    <a:pt x="598164" y="6317"/>
                  </a:lnTo>
                  <a:lnTo>
                    <a:pt x="552597" y="14060"/>
                  </a:lnTo>
                  <a:lnTo>
                    <a:pt x="508094" y="24721"/>
                  </a:lnTo>
                  <a:lnTo>
                    <a:pt x="464756" y="38198"/>
                  </a:lnTo>
                  <a:lnTo>
                    <a:pt x="422688" y="54386"/>
                  </a:lnTo>
                  <a:lnTo>
                    <a:pt x="381992" y="73184"/>
                  </a:lnTo>
                  <a:lnTo>
                    <a:pt x="342772" y="94488"/>
                  </a:lnTo>
                  <a:lnTo>
                    <a:pt x="305129" y="118196"/>
                  </a:lnTo>
                  <a:lnTo>
                    <a:pt x="269169" y="144203"/>
                  </a:lnTo>
                  <a:lnTo>
                    <a:pt x="234993" y="172406"/>
                  </a:lnTo>
                  <a:lnTo>
                    <a:pt x="202704" y="202704"/>
                  </a:lnTo>
                  <a:lnTo>
                    <a:pt x="172406" y="234993"/>
                  </a:lnTo>
                  <a:lnTo>
                    <a:pt x="144203" y="269169"/>
                  </a:lnTo>
                  <a:lnTo>
                    <a:pt x="118196" y="305129"/>
                  </a:lnTo>
                  <a:lnTo>
                    <a:pt x="94488" y="342772"/>
                  </a:lnTo>
                  <a:lnTo>
                    <a:pt x="73184" y="381992"/>
                  </a:lnTo>
                  <a:lnTo>
                    <a:pt x="54386" y="422688"/>
                  </a:lnTo>
                  <a:lnTo>
                    <a:pt x="38198" y="464756"/>
                  </a:lnTo>
                  <a:lnTo>
                    <a:pt x="24721" y="508094"/>
                  </a:lnTo>
                  <a:lnTo>
                    <a:pt x="14053" y="552639"/>
                  </a:lnTo>
                  <a:lnTo>
                    <a:pt x="6317" y="598164"/>
                  </a:lnTo>
                  <a:lnTo>
                    <a:pt x="1596" y="644690"/>
                  </a:lnTo>
                  <a:lnTo>
                    <a:pt x="0" y="692073"/>
                  </a:lnTo>
                  <a:lnTo>
                    <a:pt x="1924" y="744038"/>
                  </a:lnTo>
                  <a:lnTo>
                    <a:pt x="7605" y="794952"/>
                  </a:lnTo>
                  <a:lnTo>
                    <a:pt x="16905" y="844681"/>
                  </a:lnTo>
                  <a:lnTo>
                    <a:pt x="29688" y="893090"/>
                  </a:lnTo>
                  <a:lnTo>
                    <a:pt x="45816" y="940042"/>
                  </a:lnTo>
                  <a:lnTo>
                    <a:pt x="65152" y="985404"/>
                  </a:lnTo>
                  <a:lnTo>
                    <a:pt x="87558" y="1029039"/>
                  </a:lnTo>
                  <a:lnTo>
                    <a:pt x="112898" y="1070812"/>
                  </a:lnTo>
                  <a:lnTo>
                    <a:pt x="141033" y="1110588"/>
                  </a:lnTo>
                  <a:lnTo>
                    <a:pt x="171827" y="1148232"/>
                  </a:lnTo>
                  <a:lnTo>
                    <a:pt x="205143" y="1183609"/>
                  </a:lnTo>
                  <a:lnTo>
                    <a:pt x="240842" y="1216583"/>
                  </a:lnTo>
                  <a:lnTo>
                    <a:pt x="278268" y="1246630"/>
                  </a:lnTo>
                  <a:lnTo>
                    <a:pt x="317749" y="1274078"/>
                  </a:lnTo>
                  <a:lnTo>
                    <a:pt x="359156" y="1298792"/>
                  </a:lnTo>
                  <a:lnTo>
                    <a:pt x="402360" y="1320642"/>
                  </a:lnTo>
                  <a:lnTo>
                    <a:pt x="447232" y="1339494"/>
                  </a:lnTo>
                  <a:lnTo>
                    <a:pt x="493641" y="1355215"/>
                  </a:lnTo>
                  <a:lnTo>
                    <a:pt x="541459" y="1367674"/>
                  </a:lnTo>
                  <a:lnTo>
                    <a:pt x="590557" y="1376737"/>
                  </a:lnTo>
                  <a:lnTo>
                    <a:pt x="640805" y="1382273"/>
                  </a:lnTo>
                  <a:lnTo>
                    <a:pt x="692073" y="1384147"/>
                  </a:lnTo>
                  <a:lnTo>
                    <a:pt x="1652308" y="1384147"/>
                  </a:lnTo>
                  <a:lnTo>
                    <a:pt x="1652308" y="1216583"/>
                  </a:lnTo>
                  <a:lnTo>
                    <a:pt x="692073" y="1216583"/>
                  </a:lnTo>
                  <a:lnTo>
                    <a:pt x="644331" y="1214440"/>
                  </a:lnTo>
                  <a:lnTo>
                    <a:pt x="597790" y="1208133"/>
                  </a:lnTo>
                  <a:lnTo>
                    <a:pt x="552635" y="1197848"/>
                  </a:lnTo>
                  <a:lnTo>
                    <a:pt x="509051" y="1183770"/>
                  </a:lnTo>
                  <a:lnTo>
                    <a:pt x="467225" y="1166083"/>
                  </a:lnTo>
                  <a:lnTo>
                    <a:pt x="427339" y="1144974"/>
                  </a:lnTo>
                  <a:lnTo>
                    <a:pt x="389581" y="1120627"/>
                  </a:lnTo>
                  <a:lnTo>
                    <a:pt x="354135" y="1093228"/>
                  </a:lnTo>
                  <a:lnTo>
                    <a:pt x="321186" y="1062961"/>
                  </a:lnTo>
                  <a:lnTo>
                    <a:pt x="290919" y="1030012"/>
                  </a:lnTo>
                  <a:lnTo>
                    <a:pt x="263519" y="994565"/>
                  </a:lnTo>
                  <a:lnTo>
                    <a:pt x="239172" y="956807"/>
                  </a:lnTo>
                  <a:lnTo>
                    <a:pt x="218063" y="916922"/>
                  </a:lnTo>
                  <a:lnTo>
                    <a:pt x="200377" y="875095"/>
                  </a:lnTo>
                  <a:lnTo>
                    <a:pt x="186299" y="831512"/>
                  </a:lnTo>
                  <a:lnTo>
                    <a:pt x="176014" y="786357"/>
                  </a:lnTo>
                  <a:lnTo>
                    <a:pt x="169707" y="739816"/>
                  </a:lnTo>
                  <a:lnTo>
                    <a:pt x="167563" y="692073"/>
                  </a:lnTo>
                  <a:lnTo>
                    <a:pt x="169707" y="644333"/>
                  </a:lnTo>
                  <a:lnTo>
                    <a:pt x="176014" y="597793"/>
                  </a:lnTo>
                  <a:lnTo>
                    <a:pt x="186312" y="552597"/>
                  </a:lnTo>
                  <a:lnTo>
                    <a:pt x="200377" y="509057"/>
                  </a:lnTo>
                  <a:lnTo>
                    <a:pt x="218063" y="467230"/>
                  </a:lnTo>
                  <a:lnTo>
                    <a:pt x="239172" y="427345"/>
                  </a:lnTo>
                  <a:lnTo>
                    <a:pt x="263519" y="389587"/>
                  </a:lnTo>
                  <a:lnTo>
                    <a:pt x="290919" y="354140"/>
                  </a:lnTo>
                  <a:lnTo>
                    <a:pt x="321186" y="321190"/>
                  </a:lnTo>
                  <a:lnTo>
                    <a:pt x="354135" y="290923"/>
                  </a:lnTo>
                  <a:lnTo>
                    <a:pt x="389581" y="263523"/>
                  </a:lnTo>
                  <a:lnTo>
                    <a:pt x="427339" y="239175"/>
                  </a:lnTo>
                  <a:lnTo>
                    <a:pt x="467225" y="218065"/>
                  </a:lnTo>
                  <a:lnTo>
                    <a:pt x="509051" y="200378"/>
                  </a:lnTo>
                  <a:lnTo>
                    <a:pt x="552635" y="186300"/>
                  </a:lnTo>
                  <a:lnTo>
                    <a:pt x="597790" y="176014"/>
                  </a:lnTo>
                  <a:lnTo>
                    <a:pt x="644331" y="169707"/>
                  </a:lnTo>
                  <a:lnTo>
                    <a:pt x="692073" y="167563"/>
                  </a:lnTo>
                  <a:lnTo>
                    <a:pt x="692073" y="0"/>
                  </a:lnTo>
                  <a:close/>
                </a:path>
              </a:pathLst>
            </a:custGeom>
            <a:solidFill>
              <a:srgbClr val="01A289"/>
            </a:solidFill>
          </p:spPr>
          <p:txBody>
            <a:bodyPr wrap="square" lIns="0" tIns="0" rIns="0" bIns="0" rtlCol="0"/>
            <a:lstStyle/>
            <a:p>
              <a:endParaRPr dirty="0"/>
            </a:p>
          </p:txBody>
        </p:sp>
        <p:sp>
          <p:nvSpPr>
            <p:cNvPr id="25" name="bk object 160">
              <a:extLst>
                <a:ext uri="{FF2B5EF4-FFF2-40B4-BE49-F238E27FC236}">
                  <a16:creationId xmlns:a16="http://schemas.microsoft.com/office/drawing/2014/main" id="{DF511787-8C3A-4149-8F38-DB114A34181A}"/>
                </a:ext>
              </a:extLst>
            </p:cNvPr>
            <p:cNvSpPr/>
            <p:nvPr userDrawn="1"/>
          </p:nvSpPr>
          <p:spPr>
            <a:xfrm>
              <a:off x="-2971799" y="6523695"/>
              <a:ext cx="2066925" cy="167640"/>
            </a:xfrm>
            <a:custGeom>
              <a:avLst/>
              <a:gdLst/>
              <a:ahLst/>
              <a:cxnLst/>
              <a:rect l="l" t="t" r="r" b="b"/>
              <a:pathLst>
                <a:path w="2066925" h="167640">
                  <a:moveTo>
                    <a:pt x="1615300" y="0"/>
                  </a:moveTo>
                  <a:lnTo>
                    <a:pt x="0" y="0"/>
                  </a:lnTo>
                  <a:lnTo>
                    <a:pt x="0" y="167563"/>
                  </a:lnTo>
                  <a:lnTo>
                    <a:pt x="2066531" y="167563"/>
                  </a:lnTo>
                  <a:lnTo>
                    <a:pt x="2015262" y="165689"/>
                  </a:lnTo>
                  <a:lnTo>
                    <a:pt x="1965014" y="160154"/>
                  </a:lnTo>
                  <a:lnTo>
                    <a:pt x="1915917" y="151090"/>
                  </a:lnTo>
                  <a:lnTo>
                    <a:pt x="1868098" y="138632"/>
                  </a:lnTo>
                  <a:lnTo>
                    <a:pt x="1821689" y="122910"/>
                  </a:lnTo>
                  <a:lnTo>
                    <a:pt x="1776818" y="104058"/>
                  </a:lnTo>
                  <a:lnTo>
                    <a:pt x="1733614" y="82209"/>
                  </a:lnTo>
                  <a:lnTo>
                    <a:pt x="1692207" y="57494"/>
                  </a:lnTo>
                  <a:lnTo>
                    <a:pt x="1652726" y="30047"/>
                  </a:lnTo>
                  <a:lnTo>
                    <a:pt x="1615300" y="0"/>
                  </a:lnTo>
                  <a:close/>
                </a:path>
              </a:pathLst>
            </a:custGeom>
            <a:solidFill>
              <a:srgbClr val="01A289"/>
            </a:solidFill>
          </p:spPr>
          <p:txBody>
            <a:bodyPr wrap="square" lIns="0" tIns="0" rIns="0" bIns="0" rtlCol="0"/>
            <a:lstStyle/>
            <a:p>
              <a:endParaRPr dirty="0"/>
            </a:p>
          </p:txBody>
        </p:sp>
        <p:sp>
          <p:nvSpPr>
            <p:cNvPr id="26" name="bk object 161">
              <a:extLst>
                <a:ext uri="{FF2B5EF4-FFF2-40B4-BE49-F238E27FC236}">
                  <a16:creationId xmlns:a16="http://schemas.microsoft.com/office/drawing/2014/main" id="{6BB435FE-533D-4CA8-8861-065FDE4F7A1C}"/>
                </a:ext>
              </a:extLst>
            </p:cNvPr>
            <p:cNvSpPr/>
            <p:nvPr userDrawn="1"/>
          </p:nvSpPr>
          <p:spPr>
            <a:xfrm>
              <a:off x="-1779408" y="6523701"/>
              <a:ext cx="874138" cy="167563"/>
            </a:xfrm>
            <a:prstGeom prst="rect">
              <a:avLst/>
            </a:prstGeom>
            <a:blipFill>
              <a:blip r:embed="rId11" cstate="print"/>
              <a:stretch>
                <a:fillRect/>
              </a:stretch>
            </a:blipFill>
          </p:spPr>
          <p:txBody>
            <a:bodyPr wrap="square" lIns="0" tIns="0" rIns="0" bIns="0" rtlCol="0"/>
            <a:lstStyle/>
            <a:p>
              <a:endParaRPr dirty="0"/>
            </a:p>
          </p:txBody>
        </p:sp>
        <p:sp>
          <p:nvSpPr>
            <p:cNvPr id="27" name="bk object 162">
              <a:extLst>
                <a:ext uri="{FF2B5EF4-FFF2-40B4-BE49-F238E27FC236}">
                  <a16:creationId xmlns:a16="http://schemas.microsoft.com/office/drawing/2014/main" id="{F4B1D997-F94E-4A66-B579-807C7AE61FC4}"/>
                </a:ext>
              </a:extLst>
            </p:cNvPr>
            <p:cNvSpPr/>
            <p:nvPr userDrawn="1"/>
          </p:nvSpPr>
          <p:spPr>
            <a:xfrm>
              <a:off x="-1356493" y="6523701"/>
              <a:ext cx="244865" cy="135941"/>
            </a:xfrm>
            <a:prstGeom prst="rect">
              <a:avLst/>
            </a:prstGeom>
            <a:blipFill>
              <a:blip r:embed="rId15" cstate="print"/>
              <a:stretch>
                <a:fillRect/>
              </a:stretch>
            </a:blipFill>
          </p:spPr>
          <p:txBody>
            <a:bodyPr wrap="square" lIns="0" tIns="0" rIns="0" bIns="0" rtlCol="0"/>
            <a:lstStyle/>
            <a:p>
              <a:endParaRPr dirty="0"/>
            </a:p>
          </p:txBody>
        </p:sp>
      </p:grpSp>
      <p:sp>
        <p:nvSpPr>
          <p:cNvPr id="28" name="Slide Number Placeholder 5">
            <a:extLst>
              <a:ext uri="{FF2B5EF4-FFF2-40B4-BE49-F238E27FC236}">
                <a16:creationId xmlns:a16="http://schemas.microsoft.com/office/drawing/2014/main" id="{848C5A85-B213-4AF4-B832-A48AF97B614A}"/>
              </a:ext>
            </a:extLst>
          </p:cNvPr>
          <p:cNvSpPr txBox="1">
            <a:spLocks/>
          </p:cNvSpPr>
          <p:nvPr userDrawn="1"/>
        </p:nvSpPr>
        <p:spPr>
          <a:xfrm>
            <a:off x="10624692" y="6350274"/>
            <a:ext cx="1016000" cy="228600"/>
          </a:xfrm>
          <a:prstGeom prst="rect">
            <a:avLst/>
          </a:prstGeom>
        </p:spPr>
        <p:txBody>
          <a:bodyPr/>
          <a:lstStyle>
            <a:defPPr>
              <a:defRPr lang="en-US"/>
            </a:defPPr>
            <a:lvl1pPr marL="0" algn="r" defTabSz="914400" rtl="0" eaLnBrk="1" latinLnBrk="0" hangingPunct="1">
              <a:defRPr sz="1200" b="1" kern="1200">
                <a:solidFill>
                  <a:srgbClr val="E33B59"/>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29CBAE0-C9DC-48E5-BC21-54F13D4EB498}" type="slidenum">
              <a:rPr lang="en-US" smtClean="0"/>
              <a:pPr>
                <a:defRPr/>
              </a:pPr>
              <a:t>‹#›</a:t>
            </a:fld>
            <a:endParaRPr lang="en-US" dirty="0"/>
          </a:p>
        </p:txBody>
      </p:sp>
      <p:sp>
        <p:nvSpPr>
          <p:cNvPr id="29" name="object 2">
            <a:extLst>
              <a:ext uri="{FF2B5EF4-FFF2-40B4-BE49-F238E27FC236}">
                <a16:creationId xmlns:a16="http://schemas.microsoft.com/office/drawing/2014/main" id="{98D4DE5C-EF98-4D6B-9263-4C8E6DAB66D1}"/>
              </a:ext>
            </a:extLst>
          </p:cNvPr>
          <p:cNvSpPr txBox="1"/>
          <p:nvPr userDrawn="1"/>
        </p:nvSpPr>
        <p:spPr>
          <a:xfrm>
            <a:off x="1189582" y="6148296"/>
            <a:ext cx="524510" cy="201978"/>
          </a:xfrm>
          <a:prstGeom prst="rect">
            <a:avLst/>
          </a:prstGeom>
        </p:spPr>
        <p:txBody>
          <a:bodyPr vert="horz" wrap="square" lIns="0" tIns="17145" rIns="0" bIns="0" rtlCol="0">
            <a:spAutoFit/>
          </a:bodyPr>
          <a:lstStyle/>
          <a:p>
            <a:pPr marL="12700" algn="ctr">
              <a:lnSpc>
                <a:spcPct val="100000"/>
              </a:lnSpc>
              <a:spcBef>
                <a:spcPts val="135"/>
              </a:spcBef>
            </a:pPr>
            <a:r>
              <a:rPr sz="1200" spc="10" dirty="0">
                <a:solidFill>
                  <a:srgbClr val="01A289"/>
                </a:solidFill>
                <a:latin typeface="Function"/>
                <a:cs typeface="Function"/>
              </a:rPr>
              <a:t>Audit</a:t>
            </a:r>
            <a:endParaRPr sz="1200" dirty="0">
              <a:latin typeface="Function"/>
              <a:cs typeface="Function"/>
            </a:endParaRPr>
          </a:p>
        </p:txBody>
      </p:sp>
      <p:sp>
        <p:nvSpPr>
          <p:cNvPr id="30" name="object 3">
            <a:extLst>
              <a:ext uri="{FF2B5EF4-FFF2-40B4-BE49-F238E27FC236}">
                <a16:creationId xmlns:a16="http://schemas.microsoft.com/office/drawing/2014/main" id="{69EF2D6E-8F95-4824-B22B-B5018222CE46}"/>
              </a:ext>
            </a:extLst>
          </p:cNvPr>
          <p:cNvSpPr txBox="1"/>
          <p:nvPr userDrawn="1"/>
        </p:nvSpPr>
        <p:spPr>
          <a:xfrm>
            <a:off x="2471817" y="6148296"/>
            <a:ext cx="648970" cy="201978"/>
          </a:xfrm>
          <a:prstGeom prst="rect">
            <a:avLst/>
          </a:prstGeom>
        </p:spPr>
        <p:txBody>
          <a:bodyPr vert="horz" wrap="square" lIns="0" tIns="17145" rIns="0" bIns="0" rtlCol="0">
            <a:spAutoFit/>
          </a:bodyPr>
          <a:lstStyle/>
          <a:p>
            <a:pPr marL="12700" algn="ctr">
              <a:lnSpc>
                <a:spcPct val="100000"/>
              </a:lnSpc>
              <a:spcBef>
                <a:spcPts val="135"/>
              </a:spcBef>
            </a:pPr>
            <a:r>
              <a:rPr sz="1200" spc="10" dirty="0">
                <a:solidFill>
                  <a:srgbClr val="95847C"/>
                </a:solidFill>
                <a:latin typeface="Function"/>
                <a:cs typeface="Function"/>
              </a:rPr>
              <a:t>Report</a:t>
            </a:r>
            <a:endParaRPr sz="1200" dirty="0">
              <a:latin typeface="Function"/>
              <a:cs typeface="Function"/>
            </a:endParaRPr>
          </a:p>
        </p:txBody>
      </p:sp>
      <p:sp>
        <p:nvSpPr>
          <p:cNvPr id="31" name="object 3">
            <a:extLst>
              <a:ext uri="{FF2B5EF4-FFF2-40B4-BE49-F238E27FC236}">
                <a16:creationId xmlns:a16="http://schemas.microsoft.com/office/drawing/2014/main" id="{D5491D6F-2DF0-4915-9D94-67D7D2BED1C9}"/>
              </a:ext>
            </a:extLst>
          </p:cNvPr>
          <p:cNvSpPr txBox="1"/>
          <p:nvPr userDrawn="1"/>
        </p:nvSpPr>
        <p:spPr>
          <a:xfrm>
            <a:off x="3739161" y="6157881"/>
            <a:ext cx="817092" cy="294311"/>
          </a:xfrm>
          <a:prstGeom prst="rect">
            <a:avLst/>
          </a:prstGeom>
        </p:spPr>
        <p:txBody>
          <a:bodyPr vert="horz" wrap="square" lIns="0" tIns="17145" rIns="0" bIns="0" rtlCol="0">
            <a:spAutoFit/>
          </a:bodyPr>
          <a:lstStyle/>
          <a:p>
            <a:pPr marL="12700" algn="ctr">
              <a:lnSpc>
                <a:spcPct val="100000"/>
              </a:lnSpc>
              <a:spcBef>
                <a:spcPts val="0"/>
              </a:spcBef>
            </a:pPr>
            <a:r>
              <a:rPr lang="en-US" sz="900" spc="10" dirty="0">
                <a:solidFill>
                  <a:srgbClr val="E33B59"/>
                </a:solidFill>
                <a:latin typeface="Function"/>
                <a:cs typeface="Function"/>
              </a:rPr>
              <a:t>For</a:t>
            </a:r>
          </a:p>
          <a:p>
            <a:pPr marL="12700" algn="ctr">
              <a:lnSpc>
                <a:spcPct val="100000"/>
              </a:lnSpc>
              <a:spcBef>
                <a:spcPts val="0"/>
              </a:spcBef>
            </a:pPr>
            <a:r>
              <a:rPr lang="en-US" sz="900" spc="10" dirty="0">
                <a:solidFill>
                  <a:srgbClr val="E33B59"/>
                </a:solidFill>
                <a:latin typeface="Function"/>
                <a:cs typeface="Function"/>
              </a:rPr>
              <a:t>Accountability</a:t>
            </a:r>
            <a:endParaRPr sz="900" dirty="0">
              <a:solidFill>
                <a:srgbClr val="E33B59"/>
              </a:solidFill>
              <a:latin typeface="Function"/>
              <a:cs typeface="Function"/>
            </a:endParaRPr>
          </a:p>
        </p:txBody>
      </p:sp>
    </p:spTree>
    <p:extLst>
      <p:ext uri="{BB962C8B-B14F-4D97-AF65-F5344CB8AC3E}">
        <p14:creationId xmlns:p14="http://schemas.microsoft.com/office/powerpoint/2010/main" val="271670866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4" r:id="rId3"/>
    <p:sldLayoutId id="2147483675" r:id="rId4"/>
    <p:sldLayoutId id="2147483676" r:id="rId5"/>
    <p:sldLayoutId id="2147483677" r:id="rId6"/>
    <p:sldLayoutId id="2147483697"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26800" y="260350"/>
            <a:ext cx="482600" cy="369570"/>
          </a:xfrm>
          <a:prstGeom prst="rect">
            <a:avLst/>
          </a:prstGeom>
        </p:spPr>
        <p:txBody>
          <a:bodyPr vert="horz" lIns="91440" tIns="45720" rIns="91440" bIns="45720" rtlCol="0" anchor="ctr"/>
          <a:lstStyle>
            <a:lvl1pPr algn="r">
              <a:defRPr lang="en-ZA" sz="1600" b="1" kern="1200" smtClean="0">
                <a:solidFill>
                  <a:srgbClr val="00A88E"/>
                </a:solidFill>
                <a:latin typeface="Century Gothic" charset="0"/>
                <a:ea typeface="Century Gothic" charset="0"/>
                <a:cs typeface="Century Gothic" charset="0"/>
              </a:defRPr>
            </a:lvl1pPr>
          </a:lstStyle>
          <a:p>
            <a:fld id="{A986AE92-23A4-4C76-81C9-967E9D2257EE}" type="slidenum">
              <a:rPr lang="en-ZA" smtClean="0"/>
              <a:pPr/>
              <a:t>‹#›</a:t>
            </a:fld>
            <a:endParaRPr lang="en-ZA" dirty="0"/>
          </a:p>
        </p:txBody>
      </p:sp>
    </p:spTree>
    <p:extLst>
      <p:ext uri="{BB962C8B-B14F-4D97-AF65-F5344CB8AC3E}">
        <p14:creationId xmlns:p14="http://schemas.microsoft.com/office/powerpoint/2010/main" val="51668803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4378C1-B97E-47C9-809B-D605ADF0385E}" type="slidenum">
              <a:rPr lang="en-ZA" smtClean="0"/>
              <a:t>‹#›</a:t>
            </a:fld>
            <a:endParaRPr lang="en-ZA" dirty="0"/>
          </a:p>
        </p:txBody>
      </p:sp>
    </p:spTree>
    <p:extLst>
      <p:ext uri="{BB962C8B-B14F-4D97-AF65-F5344CB8AC3E}">
        <p14:creationId xmlns:p14="http://schemas.microsoft.com/office/powerpoint/2010/main" val="177978249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6" r:id="rId13"/>
    <p:sldLayoutId id="2147483747" r:id="rId14"/>
    <p:sldLayoutId id="2147483748" r:id="rId15"/>
    <p:sldLayoutId id="2147483750"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49.jpg"/><Relationship Id="rId5" Type="http://schemas.openxmlformats.org/officeDocument/2006/relationships/image" Target="../media/image48.sv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53.xml"/><Relationship Id="rId7" Type="http://schemas.openxmlformats.org/officeDocument/2006/relationships/diagramData" Target="../diagrams/data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arget="../media/image52.jpeg" Type="http://schemas.openxmlformats.org/officeDocument/2006/relationships/image"/><Relationship Id="rId13" Target="../diagrams/drawing2.xml" Type="http://schemas.microsoft.com/office/2007/relationships/diagramDrawing"/><Relationship Id="rId18" Target="../media/image57.png" Type="http://schemas.openxmlformats.org/officeDocument/2006/relationships/image"/><Relationship Id="rId3" Target="../slideLayouts/slideLayout53.xml" Type="http://schemas.openxmlformats.org/officeDocument/2006/relationships/slideLayout"/><Relationship Id="rId7" Target="../media/image51.jpeg" Type="http://schemas.openxmlformats.org/officeDocument/2006/relationships/image"/><Relationship Id="rId12" Target="../diagrams/colors2.xml" Type="http://schemas.openxmlformats.org/officeDocument/2006/relationships/diagramColors"/><Relationship Id="rId17" Target="../media/image56.png" Type="http://schemas.openxmlformats.org/officeDocument/2006/relationships/image"/><Relationship Id="rId2" Target="../tags/tag6.xml" Type="http://schemas.openxmlformats.org/officeDocument/2006/relationships/tags"/><Relationship Id="rId16" Target="../media/image55.png" Type="http://schemas.openxmlformats.org/officeDocument/2006/relationships/image"/><Relationship Id="rId1" Target="../tags/tag5.xml" Type="http://schemas.openxmlformats.org/officeDocument/2006/relationships/tags"/><Relationship Id="rId6" Target="../media/image50.emf" Type="http://schemas.openxmlformats.org/officeDocument/2006/relationships/image"/><Relationship Id="rId11" Target="../diagrams/quickStyle2.xml" Type="http://schemas.openxmlformats.org/officeDocument/2006/relationships/diagramQuickStyle"/><Relationship Id="rId5" Target="../embeddings/oleObject1.bin" Type="http://schemas.openxmlformats.org/officeDocument/2006/relationships/oleObject"/><Relationship Id="rId15" Target="../media/image54.png" Type="http://schemas.openxmlformats.org/officeDocument/2006/relationships/image"/><Relationship Id="rId10" Target="../diagrams/layout2.xml" Type="http://schemas.openxmlformats.org/officeDocument/2006/relationships/diagramLayout"/><Relationship Id="rId19" Target="../media/image58.png" Type="http://schemas.openxmlformats.org/officeDocument/2006/relationships/image"/><Relationship Id="rId4" Target="../notesSlides/notesSlide4.xml" Type="http://schemas.openxmlformats.org/officeDocument/2006/relationships/notesSlide"/><Relationship Id="rId9" Target="../diagrams/data2.xml" Type="http://schemas.openxmlformats.org/officeDocument/2006/relationships/diagramData"/><Relationship Id="rId14" Target="../media/image53.png" Type="http://schemas.openxmlformats.org/officeDocument/2006/relationships/image"/></Relationships>
</file>

<file path=ppt/slides/_rels/slide5.xml.rels><?xml version="1.0" encoding="UTF-8" standalone="yes" ?><Relationships xmlns="http://schemas.openxmlformats.org/package/2006/relationships"><Relationship Id="rId8" Target="../media/image60.png" Type="http://schemas.openxmlformats.org/officeDocument/2006/relationships/image"/><Relationship Id="rId3" Target="../slideLayouts/slideLayout53.xml" Type="http://schemas.openxmlformats.org/officeDocument/2006/relationships/slideLayout"/><Relationship Id="rId7" Target="../media/image59.PNG" Type="http://schemas.openxmlformats.org/officeDocument/2006/relationships/image"/><Relationship Id="rId2" Target="../tags/tag8.xml" Type="http://schemas.openxmlformats.org/officeDocument/2006/relationships/tags"/><Relationship Id="rId1" Target="../tags/tag7.xml" Type="http://schemas.openxmlformats.org/officeDocument/2006/relationships/tags"/><Relationship Id="rId6" Target="../media/image50.emf" Type="http://schemas.openxmlformats.org/officeDocument/2006/relationships/image"/><Relationship Id="rId11" Target="../media/image63.jpeg" Type="http://schemas.openxmlformats.org/officeDocument/2006/relationships/image"/><Relationship Id="rId5" Target="../embeddings/oleObject1.bin" Type="http://schemas.openxmlformats.org/officeDocument/2006/relationships/oleObject"/><Relationship Id="rId10" Target="../media/image62.jpeg" Type="http://schemas.openxmlformats.org/officeDocument/2006/relationships/image"/><Relationship Id="rId4" Target="../notesSlides/notesSlide5.xml" Type="http://schemas.openxmlformats.org/officeDocument/2006/relationships/notesSlide"/><Relationship Id="rId9" Target="../media/image61.png" Type="http://schemas.openxmlformats.org/officeDocument/2006/relationships/image"/></Relationships>
</file>

<file path=ppt/slides/_rels/slide6.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slide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1877ADAD-D83C-FBAA-F181-79D630D0B2A1}"/>
              </a:ext>
            </a:extLst>
          </p:cNvPr>
          <p:cNvSpPr txBox="1">
            <a:spLocks/>
          </p:cNvSpPr>
          <p:nvPr/>
        </p:nvSpPr>
        <p:spPr>
          <a:xfrm>
            <a:off x="6700183" y="6376889"/>
            <a:ext cx="5088867" cy="279299"/>
          </a:xfrm>
          <a:prstGeom prst="rect">
            <a:avLst/>
          </a:prstGeom>
          <a:noFill/>
        </p:spPr>
        <p:txBody>
          <a:bodyPr bIns="45720" lIns="91440" rIns="91440" rtlCol="0" tIns="45720" vert="horz">
            <a:normAutofit lnSpcReduction="10000"/>
          </a:bodyPr>
          <a:lstStyle>
            <a:lvl1pPr algn="l" defTabSz="914400" eaLnBrk="1" hangingPunct="1" indent="0" latinLnBrk="0" marL="0" rtl="0">
              <a:lnSpc>
                <a:spcPct val="90000"/>
              </a:lnSpc>
              <a:spcBef>
                <a:spcPts val="1000"/>
              </a:spcBef>
              <a:buFont charset="0" panose="020B0604020202020204" pitchFamily="34" typeface="Arial"/>
              <a:buNone/>
              <a:defRPr kern="1200" sz="2400">
                <a:solidFill>
                  <a:srgbClr val="15A98F"/>
                </a:solidFill>
                <a:latin charset="0" panose="020B0502020202020204" pitchFamily="34" typeface="Century Gothic"/>
                <a:ea typeface="+mn-ea"/>
                <a:cs typeface="+mn-cs"/>
              </a:defRPr>
            </a:lvl1pPr>
            <a:lvl2pPr algn="ctr" defTabSz="914400" eaLnBrk="1" hangingPunct="1" indent="0" latinLnBrk="0" marL="457200" rtl="0">
              <a:lnSpc>
                <a:spcPct val="90000"/>
              </a:lnSpc>
              <a:spcBef>
                <a:spcPts val="500"/>
              </a:spcBef>
              <a:buFont charset="0" panose="020B0604020202020204" pitchFamily="34" typeface="Arial"/>
              <a:buNone/>
              <a:defRPr kern="1200" sz="2000">
                <a:solidFill>
                  <a:schemeClr val="tx1"/>
                </a:solidFill>
                <a:latin typeface="+mn-lt"/>
                <a:ea typeface="+mn-ea"/>
                <a:cs typeface="+mn-cs"/>
              </a:defRPr>
            </a:lvl2pPr>
            <a:lvl3pPr algn="ctr" defTabSz="914400" eaLnBrk="1" hangingPunct="1" indent="0" latinLnBrk="0" marL="914400" rtl="0">
              <a:lnSpc>
                <a:spcPct val="90000"/>
              </a:lnSpc>
              <a:spcBef>
                <a:spcPts val="500"/>
              </a:spcBef>
              <a:buFont charset="0" panose="020B0604020202020204" pitchFamily="34" typeface="Arial"/>
              <a:buNone/>
              <a:defRPr kern="1200" sz="1800">
                <a:solidFill>
                  <a:schemeClr val="tx1"/>
                </a:solidFill>
                <a:latin typeface="+mn-lt"/>
                <a:ea typeface="+mn-ea"/>
                <a:cs typeface="+mn-cs"/>
              </a:defRPr>
            </a:lvl3pPr>
            <a:lvl4pPr algn="ctr" defTabSz="914400" eaLnBrk="1" hangingPunct="1" indent="0" latinLnBrk="0" marL="1371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4pPr>
            <a:lvl5pPr algn="ctr" defTabSz="914400" eaLnBrk="1" hangingPunct="1" indent="0" latinLnBrk="0" marL="18288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5pPr>
            <a:lvl6pPr algn="ctr" defTabSz="914400" eaLnBrk="1" hangingPunct="1" indent="0" latinLnBrk="0" marL="22860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6pPr>
            <a:lvl7pPr algn="ctr" defTabSz="914400" eaLnBrk="1" hangingPunct="1" indent="0" latinLnBrk="0" marL="27432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7pPr>
            <a:lvl8pPr algn="ctr" defTabSz="914400" eaLnBrk="1" hangingPunct="1" indent="0" latinLnBrk="0" marL="32004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8pPr>
            <a:lvl9pPr algn="ctr" defTabSz="914400" eaLnBrk="1" hangingPunct="1" indent="0" latinLnBrk="0" marL="3657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9pPr>
          </a:lstStyle>
          <a:p>
            <a:pPr algn="r" defTabSz="914400" eaLnBrk="1" fontAlgn="auto" hangingPunct="1" indent="0" latinLnBrk="0" lvl="0" marL="0" marR="0" rtl="0">
              <a:lnSpc>
                <a:spcPct val="90000"/>
              </a:lnSpc>
              <a:spcBef>
                <a:spcPts val="1000"/>
              </a:spcBef>
              <a:spcAft>
                <a:spcPts val="0"/>
              </a:spcAft>
              <a:buClrTx/>
              <a:buSzTx/>
              <a:buFont charset="0" panose="020B0604020202020204" pitchFamily="34" typeface="Arial"/>
              <a:buNone/>
              <a:tabLst/>
              <a:defRPr/>
            </a:pPr>
            <a:r>
              <a:rPr b="0" baseline="0" cap="none" dirty="0" i="0" kern="1200" kumimoji="0" lang="en-ZA" noProof="0" normalizeH="0" spc="0" strike="noStrike" sz="1400" u="none">
                <a:ln>
                  <a:noFill/>
                </a:ln>
                <a:solidFill>
                  <a:srgbClr val="44546A">
                    <a:lumMod val="60000"/>
                    <a:lumOff val="40000"/>
                  </a:srgbClr>
                </a:solidFill>
                <a:effectLst/>
                <a:uLnTx/>
                <a:uFillTx/>
                <a:latin charset="0" panose="020B0502020202020204" pitchFamily="34" typeface="Century Gothic"/>
                <a:ea typeface="+mn-ea"/>
                <a:cs typeface="+mn-cs"/>
              </a:rPr>
              <a:t>PFMA general report theme</a:t>
            </a:r>
          </a:p>
        </p:txBody>
      </p:sp>
      <p:grpSp>
        <p:nvGrpSpPr>
          <p:cNvPr id="11" name="Group 10">
            <a:extLst>
              <a:ext uri="{FF2B5EF4-FFF2-40B4-BE49-F238E27FC236}">
                <a16:creationId xmlns:a16="http://schemas.microsoft.com/office/drawing/2014/main" id="{8AE72A0D-310D-EDE3-BE4E-8224F056A654}"/>
              </a:ext>
            </a:extLst>
          </p:cNvPr>
          <p:cNvGrpSpPr/>
          <p:nvPr/>
        </p:nvGrpSpPr>
        <p:grpSpPr>
          <a:xfrm>
            <a:off x="0" y="-6974"/>
            <a:ext cx="12192000" cy="6864974"/>
            <a:chOff x="0" y="-6974"/>
            <a:chExt cx="12192000" cy="6864974"/>
          </a:xfrm>
        </p:grpSpPr>
        <p:pic>
          <p:nvPicPr>
            <p:cNvPr id="3" name="Picture 2">
              <a:extLst>
                <a:ext uri="{FF2B5EF4-FFF2-40B4-BE49-F238E27FC236}">
                  <a16:creationId xmlns:a16="http://schemas.microsoft.com/office/drawing/2014/main" id="{4C36CEE9-C337-5F94-3F96-E675C5351F58}"/>
                </a:ext>
              </a:extLst>
            </p:cNvPr>
            <p:cNvPicPr>
              <a:picLocks noChangeAspect="1"/>
            </p:cNvPicPr>
            <p:nvPr/>
          </p:nvPicPr>
          <p:blipFill rotWithShape="1">
            <a:blip cstate="print" r:embed="rId3">
              <a:extLst>
                <a:ext uri="{28A0092B-C50C-407E-A947-70E740481C1C}">
                  <a14:useLocalDpi xmlns:a14="http://schemas.microsoft.com/office/drawing/2010/main" val="0"/>
                </a:ext>
              </a:extLst>
            </a:blip>
            <a:srcRect b="22495" l="17653" r="5127" t="206"/>
            <a:stretch/>
          </p:blipFill>
          <p:spPr>
            <a:xfrm>
              <a:off x="0" y="-6974"/>
              <a:ext cx="12192000" cy="6864974"/>
            </a:xfrm>
            <a:prstGeom prst="rect">
              <a:avLst/>
            </a:prstGeom>
          </p:spPr>
        </p:pic>
        <p:sp>
          <p:nvSpPr>
            <p:cNvPr id="7" name="Rectangle 6">
              <a:extLst>
                <a:ext uri="{FF2B5EF4-FFF2-40B4-BE49-F238E27FC236}">
                  <a16:creationId xmlns:a16="http://schemas.microsoft.com/office/drawing/2014/main" id="{1E402DD9-55E2-CCA6-3FF5-2D6A150B0F7C}"/>
                </a:ext>
              </a:extLst>
            </p:cNvPr>
            <p:cNvSpPr/>
            <p:nvPr/>
          </p:nvSpPr>
          <p:spPr>
            <a:xfrm>
              <a:off x="0" y="-6974"/>
              <a:ext cx="3235973" cy="6864974"/>
            </a:xfrm>
            <a:prstGeom prst="rect">
              <a:avLst/>
            </a:prstGeom>
            <a:solidFill>
              <a:srgbClr val="00A88E">
                <a:alpha val="3157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440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1800" u="none">
                <a:ln>
                  <a:noFill/>
                </a:ln>
                <a:solidFill>
                  <a:srgbClr val="FFFFFF"/>
                </a:solidFill>
                <a:effectLst/>
                <a:uLnTx/>
                <a:uFillTx/>
                <a:latin panose="020F0502020204030204" typeface="Calibri"/>
                <a:ea typeface="+mn-ea"/>
                <a:cs typeface="+mn-cs"/>
              </a:endParaRPr>
            </a:p>
          </p:txBody>
        </p:sp>
        <p:sp>
          <p:nvSpPr>
            <p:cNvPr id="10" name="Freeform 9">
              <a:extLst>
                <a:ext uri="{FF2B5EF4-FFF2-40B4-BE49-F238E27FC236}">
                  <a16:creationId xmlns:a16="http://schemas.microsoft.com/office/drawing/2014/main" id="{2F94AF0E-5948-3E63-7043-45E7F14A3C18}"/>
                </a:ext>
              </a:extLst>
            </p:cNvPr>
            <p:cNvSpPr/>
            <p:nvPr/>
          </p:nvSpPr>
          <p:spPr>
            <a:xfrm>
              <a:off x="3214431" y="542347"/>
              <a:ext cx="3002996" cy="5843043"/>
            </a:xfrm>
            <a:custGeom>
              <a:avLst/>
              <a:gdLst>
                <a:gd fmla="*/ 81474 w 3002996" name="connsiteX0"/>
                <a:gd fmla="*/ 0 h 5843043" name="connsiteY0"/>
                <a:gd fmla="*/ 3002996 w 3002996" name="connsiteX1"/>
                <a:gd fmla="*/ 2921522 h 5843043" name="connsiteY1"/>
                <a:gd fmla="*/ 81474 w 3002996" name="connsiteX2"/>
                <a:gd fmla="*/ 5843043 h 5843043" name="connsiteY2"/>
                <a:gd fmla="*/ 0 w 3002996" name="connsiteX3"/>
                <a:gd fmla="*/ 5838930 h 5843043" name="connsiteY3"/>
                <a:gd fmla="*/ 0 w 3002996" name="connsiteX4"/>
                <a:gd fmla="*/ 5320935 h 5843043" name="connsiteY4"/>
                <a:gd fmla="*/ 81474 w 3002996" name="connsiteX5"/>
                <a:gd fmla="*/ 5325048 h 5843043" name="connsiteY5"/>
                <a:gd fmla="*/ 81904 w 3002996" name="connsiteX6"/>
                <a:gd fmla="*/ 5325026 h 5843043" name="connsiteY6"/>
                <a:gd fmla="*/ 0 w 3002996" name="connsiteX7"/>
                <a:gd fmla="*/ 5320891 h 5843043" name="connsiteY7"/>
                <a:gd fmla="*/ 0 w 3002996" name="connsiteX8"/>
                <a:gd fmla="*/ 4903386 h 5843043" name="connsiteY8"/>
                <a:gd fmla="*/ 82324 w 3002996" name="connsiteX9"/>
                <a:gd fmla="*/ 4907542 h 5843043" name="connsiteY9"/>
                <a:gd fmla="*/ 2093401 w 3002996" name="connsiteX10"/>
                <a:gd fmla="*/ 2896465 h 5843043" name="connsiteY10"/>
                <a:gd fmla="*/ 82324 w 3002996" name="connsiteX11"/>
                <a:gd fmla="*/ 885387 h 5843043" name="connsiteY11"/>
                <a:gd fmla="*/ 0 w 3002996" name="connsiteX12"/>
                <a:gd fmla="*/ 889543 h 5843043" name="connsiteY12"/>
                <a:gd fmla="*/ 0 w 3002996" name="connsiteX13"/>
                <a:gd fmla="*/ 522109 h 5843043" name="connsiteY13"/>
                <a:gd fmla="*/ 0 w 3002996" name="connsiteX14"/>
                <a:gd fmla="*/ 472038 h 5843043" name="connsiteY14"/>
                <a:gd fmla="*/ 0 w 3002996" name="connsiteX15"/>
                <a:gd fmla="*/ 4113 h 5843043"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5843043" w="3002996">
                  <a:moveTo>
                    <a:pt x="81474" y="0"/>
                  </a:moveTo>
                  <a:cubicBezTo>
                    <a:pt x="1694985" y="0"/>
                    <a:pt x="3002996" y="1308011"/>
                    <a:pt x="3002996" y="2921522"/>
                  </a:cubicBezTo>
                  <a:cubicBezTo>
                    <a:pt x="3002996" y="4535032"/>
                    <a:pt x="1694985" y="5843043"/>
                    <a:pt x="81474" y="5843043"/>
                  </a:cubicBezTo>
                  <a:lnTo>
                    <a:pt x="0" y="5838930"/>
                  </a:lnTo>
                  <a:lnTo>
                    <a:pt x="0" y="5320935"/>
                  </a:lnTo>
                  <a:lnTo>
                    <a:pt x="81474" y="5325048"/>
                  </a:lnTo>
                  <a:lnTo>
                    <a:pt x="81904" y="5325026"/>
                  </a:lnTo>
                  <a:lnTo>
                    <a:pt x="0" y="5320891"/>
                  </a:lnTo>
                  <a:lnTo>
                    <a:pt x="0" y="4903386"/>
                  </a:lnTo>
                  <a:lnTo>
                    <a:pt x="82324" y="4907542"/>
                  </a:lnTo>
                  <a:cubicBezTo>
                    <a:pt x="1193011" y="4907542"/>
                    <a:pt x="2093401" y="4007152"/>
                    <a:pt x="2093401" y="2896465"/>
                  </a:cubicBezTo>
                  <a:cubicBezTo>
                    <a:pt x="2093401" y="1785777"/>
                    <a:pt x="1193011" y="885387"/>
                    <a:pt x="82324" y="885387"/>
                  </a:cubicBezTo>
                  <a:lnTo>
                    <a:pt x="0" y="889543"/>
                  </a:lnTo>
                  <a:lnTo>
                    <a:pt x="0" y="522109"/>
                  </a:lnTo>
                  <a:lnTo>
                    <a:pt x="0" y="472038"/>
                  </a:lnTo>
                  <a:lnTo>
                    <a:pt x="0" y="4113"/>
                  </a:lnTo>
                  <a:close/>
                </a:path>
              </a:pathLst>
            </a:custGeom>
            <a:gradFill>
              <a:gsLst>
                <a:gs pos="100000">
                  <a:schemeClr val="accent2">
                    <a:alpha val="0"/>
                  </a:schemeClr>
                </a:gs>
                <a:gs pos="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wrap="square">
              <a:noAutofit/>
            </a:bodyPr>
            <a:lstStyle/>
            <a:p>
              <a:pPr algn="ctr" defTabSz="91440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1800" u="none">
                <a:ln>
                  <a:noFill/>
                </a:ln>
                <a:solidFill>
                  <a:srgbClr val="FFFFFF"/>
                </a:solidFill>
                <a:effectLst/>
                <a:uLnTx/>
                <a:uFillTx/>
                <a:latin panose="020F0502020204030204" typeface="Calibri"/>
                <a:ea typeface="+mn-ea"/>
                <a:cs typeface="+mn-cs"/>
              </a:endParaRPr>
            </a:p>
          </p:txBody>
        </p:sp>
        <p:sp>
          <p:nvSpPr>
            <p:cNvPr id="4" name="Freeform 3">
              <a:extLst>
                <a:ext uri="{FF2B5EF4-FFF2-40B4-BE49-F238E27FC236}">
                  <a16:creationId xmlns:a16="http://schemas.microsoft.com/office/drawing/2014/main" id="{473249BB-A6DB-CD80-2910-C71ED8B09CAC}"/>
                </a:ext>
              </a:extLst>
            </p:cNvPr>
            <p:cNvSpPr/>
            <p:nvPr/>
          </p:nvSpPr>
          <p:spPr>
            <a:xfrm>
              <a:off x="913921" y="1045353"/>
              <a:ext cx="2322052" cy="4798826"/>
            </a:xfrm>
            <a:custGeom>
              <a:avLst/>
              <a:gdLst>
                <a:gd fmla="*/ 894231 w 894231" name="connsiteX0"/>
                <a:gd fmla="*/ 0 h 1848046" name="connsiteY0"/>
                <a:gd fmla="*/ 894231 w 894231" name="connsiteX1"/>
                <a:gd fmla="*/ 159124 h 1848046" name="connsiteY1"/>
                <a:gd fmla="*/ 847239 w 894231" name="connsiteX2"/>
                <a:gd fmla="*/ 161497 h 1848046" name="connsiteY2"/>
                <a:gd fmla="*/ 159124 w 894231" name="connsiteX3"/>
                <a:gd fmla="*/ 924023 h 1848046" name="connsiteY3"/>
                <a:gd fmla="*/ 847239 w 894231" name="connsiteX4"/>
                <a:gd fmla="*/ 1686549 h 1848046" name="connsiteY4"/>
                <a:gd fmla="*/ 894231 w 894231" name="connsiteX5"/>
                <a:gd fmla="*/ 1688922 h 1848046" name="connsiteY5"/>
                <a:gd fmla="*/ 894231 w 894231" name="connsiteX6"/>
                <a:gd fmla="*/ 1848046 h 1848046" name="connsiteY6"/>
                <a:gd fmla="*/ 830969 w 894231" name="connsiteX7"/>
                <a:gd fmla="*/ 1844851 h 1848046" name="connsiteY7"/>
                <a:gd fmla="*/ 0 w 894231" name="connsiteX8"/>
                <a:gd fmla="*/ 924023 h 1848046" name="connsiteY8"/>
                <a:gd fmla="*/ 830969 w 894231" name="connsiteX9"/>
                <a:gd fmla="*/ 3195 h 1848046" name="connsiteY9"/>
                <a:gd fmla="*/ 894231 w 894231" name="connsiteX10"/>
                <a:gd fmla="*/ 0 h 1848046" name="connsiteY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b="b" l="l" r="r" t="t"/>
              <a:pathLst>
                <a:path h="1848046" w="894231">
                  <a:moveTo>
                    <a:pt x="894231" y="0"/>
                  </a:moveTo>
                  <a:lnTo>
                    <a:pt x="894231" y="159124"/>
                  </a:lnTo>
                  <a:lnTo>
                    <a:pt x="847239" y="161497"/>
                  </a:lnTo>
                  <a:cubicBezTo>
                    <a:pt x="460735" y="200749"/>
                    <a:pt x="159124" y="527163"/>
                    <a:pt x="159124" y="924023"/>
                  </a:cubicBezTo>
                  <a:cubicBezTo>
                    <a:pt x="159124" y="1320883"/>
                    <a:pt x="460735" y="1647297"/>
                    <a:pt x="847239" y="1686549"/>
                  </a:cubicBezTo>
                  <a:lnTo>
                    <a:pt x="894231" y="1688922"/>
                  </a:lnTo>
                  <a:lnTo>
                    <a:pt x="894231" y="1848046"/>
                  </a:lnTo>
                  <a:lnTo>
                    <a:pt x="830969" y="1844851"/>
                  </a:lnTo>
                  <a:cubicBezTo>
                    <a:pt x="364226" y="1797451"/>
                    <a:pt x="0" y="1403272"/>
                    <a:pt x="0" y="924023"/>
                  </a:cubicBezTo>
                  <a:cubicBezTo>
                    <a:pt x="0" y="444774"/>
                    <a:pt x="364226" y="50595"/>
                    <a:pt x="830969" y="3195"/>
                  </a:cubicBezTo>
                  <a:lnTo>
                    <a:pt x="894231" y="0"/>
                  </a:lnTo>
                  <a:close/>
                </a:path>
              </a:pathLst>
            </a:custGeom>
            <a:gradFill>
              <a:gsLst>
                <a:gs pos="17000">
                  <a:schemeClr val="accent2">
                    <a:alpha val="40725"/>
                  </a:schemeClr>
                </a:gs>
                <a:gs pos="100000">
                  <a:schemeClr val="accent2">
                    <a:alpha val="7589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wrap="square">
              <a:noAutofit/>
            </a:bodyPr>
            <a:lstStyle/>
            <a:p>
              <a:pPr algn="ctr" defTabSz="91440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1800" u="none">
                <a:ln>
                  <a:noFill/>
                </a:ln>
                <a:solidFill>
                  <a:srgbClr val="FFFFFF"/>
                </a:solidFill>
                <a:effectLst/>
                <a:uLnTx/>
                <a:uFillTx/>
                <a:latin panose="020F0502020204030204" typeface="Calibri"/>
                <a:ea typeface="+mn-ea"/>
                <a:cs typeface="+mn-cs"/>
              </a:endParaRPr>
            </a:p>
          </p:txBody>
        </p:sp>
        <p:sp>
          <p:nvSpPr>
            <p:cNvPr id="6" name="Freeform 5">
              <a:extLst>
                <a:ext uri="{FF2B5EF4-FFF2-40B4-BE49-F238E27FC236}">
                  <a16:creationId xmlns:a16="http://schemas.microsoft.com/office/drawing/2014/main" id="{50CEB166-97AE-BC91-179D-97EC0907927D}"/>
                </a:ext>
              </a:extLst>
            </p:cNvPr>
            <p:cNvSpPr/>
            <p:nvPr/>
          </p:nvSpPr>
          <p:spPr>
            <a:xfrm>
              <a:off x="400367" y="527474"/>
              <a:ext cx="2840047" cy="5834817"/>
            </a:xfrm>
            <a:custGeom>
              <a:avLst/>
              <a:gdLst>
                <a:gd fmla="*/ 1093713 w 1093713" name="connsiteX0"/>
                <a:gd fmla="*/ 0 h 2247010" name="connsiteY0"/>
                <a:gd fmla="*/ 1093713 w 1093713" name="connsiteX1"/>
                <a:gd fmla="*/ 199482 h 2247010" name="connsiteY1"/>
                <a:gd fmla="*/ 1030451 w 1093713" name="connsiteX2"/>
                <a:gd fmla="*/ 202677 h 2247010" name="connsiteY2"/>
                <a:gd fmla="*/ 199482 w 1093713" name="connsiteX3"/>
                <a:gd fmla="*/ 1123505 h 2247010" name="connsiteY3"/>
                <a:gd fmla="*/ 1030451 w 1093713" name="connsiteX4"/>
                <a:gd fmla="*/ 2044333 h 2247010" name="connsiteY4"/>
                <a:gd fmla="*/ 1093713 w 1093713" name="connsiteX5"/>
                <a:gd fmla="*/ 2047528 h 2247010" name="connsiteY5"/>
                <a:gd fmla="*/ 1093713 w 1093713" name="connsiteX6"/>
                <a:gd fmla="*/ 2247010 h 2247010" name="connsiteY6"/>
                <a:gd fmla="*/ 1010055 w 1093713" name="connsiteX7"/>
                <a:gd fmla="*/ 2242785 h 2247010" name="connsiteY7"/>
                <a:gd fmla="*/ 0 w 1093713" name="connsiteX8"/>
                <a:gd fmla="*/ 1123505 h 2247010" name="connsiteY8"/>
                <a:gd fmla="*/ 1010055 w 1093713" name="connsiteX9"/>
                <a:gd fmla="*/ 4225 h 2247010" name="connsiteY9"/>
                <a:gd fmla="*/ 1093713 w 1093713" name="connsiteX10"/>
                <a:gd fmla="*/ 0 h 2247010" name="connsiteY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b="b" l="l" r="r" t="t"/>
              <a:pathLst>
                <a:path h="2247010" w="1093713">
                  <a:moveTo>
                    <a:pt x="1093713" y="0"/>
                  </a:moveTo>
                  <a:lnTo>
                    <a:pt x="1093713" y="199482"/>
                  </a:lnTo>
                  <a:lnTo>
                    <a:pt x="1030451" y="202677"/>
                  </a:lnTo>
                  <a:cubicBezTo>
                    <a:pt x="563708" y="250077"/>
                    <a:pt x="199482" y="644256"/>
                    <a:pt x="199482" y="1123505"/>
                  </a:cubicBezTo>
                  <a:cubicBezTo>
                    <a:pt x="199482" y="1602754"/>
                    <a:pt x="563708" y="1996933"/>
                    <a:pt x="1030451" y="2044333"/>
                  </a:cubicBezTo>
                  <a:lnTo>
                    <a:pt x="1093713" y="2047528"/>
                  </a:lnTo>
                  <a:lnTo>
                    <a:pt x="1093713" y="2247010"/>
                  </a:lnTo>
                  <a:lnTo>
                    <a:pt x="1010055" y="2242785"/>
                  </a:lnTo>
                  <a:cubicBezTo>
                    <a:pt x="442723" y="2185170"/>
                    <a:pt x="0" y="1706039"/>
                    <a:pt x="0" y="1123505"/>
                  </a:cubicBezTo>
                  <a:cubicBezTo>
                    <a:pt x="0" y="540972"/>
                    <a:pt x="442723" y="61841"/>
                    <a:pt x="1010055" y="4225"/>
                  </a:cubicBezTo>
                  <a:lnTo>
                    <a:pt x="1093713" y="0"/>
                  </a:lnTo>
                  <a:close/>
                </a:path>
              </a:pathLst>
            </a:custGeom>
            <a:gradFill>
              <a:gsLst>
                <a:gs pos="0">
                  <a:schemeClr val="accent1">
                    <a:lumMod val="5000"/>
                    <a:lumOff val="95000"/>
                    <a:alpha val="13188"/>
                  </a:schemeClr>
                </a:gs>
                <a:gs pos="100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wrap="square">
              <a:noAutofit/>
            </a:bodyPr>
            <a:lstStyle/>
            <a:p>
              <a:pPr algn="ctr" defTabSz="91440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1800" u="none">
                <a:ln>
                  <a:noFill/>
                </a:ln>
                <a:solidFill>
                  <a:srgbClr val="FFFFFF"/>
                </a:solidFill>
                <a:effectLst/>
                <a:uLnTx/>
                <a:uFillTx/>
                <a:latin panose="020F0502020204030204" typeface="Calibri"/>
                <a:ea typeface="+mn-ea"/>
                <a:cs typeface="+mn-cs"/>
              </a:endParaRPr>
            </a:p>
          </p:txBody>
        </p:sp>
        <p:pic>
          <p:nvPicPr>
            <p:cNvPr id="57" name="Graphic 56">
              <a:extLst>
                <a:ext uri="{FF2B5EF4-FFF2-40B4-BE49-F238E27FC236}">
                  <a16:creationId xmlns:a16="http://schemas.microsoft.com/office/drawing/2014/main" id="{673A30C5-10BF-5E66-D766-7E8625477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17146" y="536127"/>
              <a:ext cx="1905000" cy="965200"/>
            </a:xfrm>
            <a:prstGeom prst="rect">
              <a:avLst/>
            </a:prstGeom>
          </p:spPr>
        </p:pic>
        <p:pic>
          <p:nvPicPr>
            <p:cNvPr id="61" name="Picture 60">
              <a:extLst>
                <a:ext uri="{FF2B5EF4-FFF2-40B4-BE49-F238E27FC236}">
                  <a16:creationId xmlns:a16="http://schemas.microsoft.com/office/drawing/2014/main" id="{1F01B11E-2778-C4D3-97A9-1ED36A4F6C0D}"/>
                </a:ext>
              </a:extLst>
            </p:cNvPr>
            <p:cNvPicPr>
              <a:picLocks noChangeAspect="1"/>
            </p:cNvPicPr>
            <p:nvPr/>
          </p:nvPicPr>
          <p:blipFill>
            <a:blip r:embed="rId6"/>
            <a:srcRect r="1"/>
            <a:stretch/>
          </p:blipFill>
          <p:spPr>
            <a:xfrm>
              <a:off x="1333668" y="1420603"/>
              <a:ext cx="4025410" cy="4025410"/>
            </a:xfrm>
            <a:prstGeom prst="ellipse">
              <a:avLst/>
            </a:prstGeom>
          </p:spPr>
        </p:pic>
      </p:grpSp>
      <p:sp>
        <p:nvSpPr>
          <p:cNvPr id="18" name="Subtitle 2">
            <a:extLst>
              <a:ext uri="{FF2B5EF4-FFF2-40B4-BE49-F238E27FC236}">
                <a16:creationId xmlns:a16="http://schemas.microsoft.com/office/drawing/2014/main" id="{469734A0-8FFE-7BD2-6EBE-1786DF57F927}"/>
              </a:ext>
            </a:extLst>
          </p:cNvPr>
          <p:cNvSpPr txBox="1">
            <a:spLocks/>
          </p:cNvSpPr>
          <p:nvPr/>
        </p:nvSpPr>
        <p:spPr>
          <a:xfrm>
            <a:off x="6700183" y="5070688"/>
            <a:ext cx="4821963" cy="386900"/>
          </a:xfrm>
          <a:prstGeom prst="rect">
            <a:avLst/>
          </a:prstGeom>
          <a:noFill/>
        </p:spPr>
        <p:txBody>
          <a:bodyPr bIns="45720" lIns="91440" rIns="91440" rtlCol="0" tIns="45720" vert="horz">
            <a:normAutofit/>
          </a:bodyPr>
          <a:lstStyle>
            <a:lvl1pPr algn="l" defTabSz="914400" eaLnBrk="1" hangingPunct="1" indent="0" latinLnBrk="0" marL="0" rtl="0">
              <a:lnSpc>
                <a:spcPct val="90000"/>
              </a:lnSpc>
              <a:spcBef>
                <a:spcPts val="1000"/>
              </a:spcBef>
              <a:buFont charset="0" panose="020B0604020202020204" pitchFamily="34" typeface="Arial"/>
              <a:buNone/>
              <a:defRPr kern="1200" sz="2400">
                <a:solidFill>
                  <a:srgbClr val="15A98F"/>
                </a:solidFill>
                <a:latin charset="0" panose="020B0502020202020204" pitchFamily="34" typeface="Century Gothic"/>
                <a:ea typeface="+mn-ea"/>
                <a:cs typeface="+mn-cs"/>
              </a:defRPr>
            </a:lvl1pPr>
            <a:lvl2pPr algn="ctr" defTabSz="914400" eaLnBrk="1" hangingPunct="1" indent="0" latinLnBrk="0" marL="457200" rtl="0">
              <a:lnSpc>
                <a:spcPct val="90000"/>
              </a:lnSpc>
              <a:spcBef>
                <a:spcPts val="500"/>
              </a:spcBef>
              <a:buFont charset="0" panose="020B0604020202020204" pitchFamily="34" typeface="Arial"/>
              <a:buNone/>
              <a:defRPr kern="1200" sz="2000">
                <a:solidFill>
                  <a:schemeClr val="tx1"/>
                </a:solidFill>
                <a:latin typeface="+mn-lt"/>
                <a:ea typeface="+mn-ea"/>
                <a:cs typeface="+mn-cs"/>
              </a:defRPr>
            </a:lvl2pPr>
            <a:lvl3pPr algn="ctr" defTabSz="914400" eaLnBrk="1" hangingPunct="1" indent="0" latinLnBrk="0" marL="914400" rtl="0">
              <a:lnSpc>
                <a:spcPct val="90000"/>
              </a:lnSpc>
              <a:spcBef>
                <a:spcPts val="500"/>
              </a:spcBef>
              <a:buFont charset="0" panose="020B0604020202020204" pitchFamily="34" typeface="Arial"/>
              <a:buNone/>
              <a:defRPr kern="1200" sz="1800">
                <a:solidFill>
                  <a:schemeClr val="tx1"/>
                </a:solidFill>
                <a:latin typeface="+mn-lt"/>
                <a:ea typeface="+mn-ea"/>
                <a:cs typeface="+mn-cs"/>
              </a:defRPr>
            </a:lvl3pPr>
            <a:lvl4pPr algn="ctr" defTabSz="914400" eaLnBrk="1" hangingPunct="1" indent="0" latinLnBrk="0" marL="1371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4pPr>
            <a:lvl5pPr algn="ctr" defTabSz="914400" eaLnBrk="1" hangingPunct="1" indent="0" latinLnBrk="0" marL="18288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5pPr>
            <a:lvl6pPr algn="ctr" defTabSz="914400" eaLnBrk="1" hangingPunct="1" indent="0" latinLnBrk="0" marL="22860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6pPr>
            <a:lvl7pPr algn="ctr" defTabSz="914400" eaLnBrk="1" hangingPunct="1" indent="0" latinLnBrk="0" marL="27432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7pPr>
            <a:lvl8pPr algn="ctr" defTabSz="914400" eaLnBrk="1" hangingPunct="1" indent="0" latinLnBrk="0" marL="32004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8pPr>
            <a:lvl9pPr algn="ctr" defTabSz="914400" eaLnBrk="1" hangingPunct="1" indent="0" latinLnBrk="0" marL="3657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9pPr>
          </a:lstStyle>
          <a:p>
            <a:pPr algn="r" defTabSz="914400" eaLnBrk="1" fontAlgn="auto" hangingPunct="1" indent="0" latinLnBrk="0" lvl="0" marL="0" marR="0" rtl="0">
              <a:lnSpc>
                <a:spcPct val="90000"/>
              </a:lnSpc>
              <a:spcBef>
                <a:spcPts val="1000"/>
              </a:spcBef>
              <a:spcAft>
                <a:spcPts val="0"/>
              </a:spcAft>
              <a:buClrTx/>
              <a:buSzTx/>
              <a:buFont charset="0" panose="020B0604020202020204" pitchFamily="34" typeface="Arial"/>
              <a:buNone/>
              <a:tabLst/>
              <a:defRPr/>
            </a:pPr>
            <a:r>
              <a:rPr dirty="0" i="1" lang="en-ZA" sz="1400">
                <a:solidFill>
                  <a:srgbClr val="FFFFFF"/>
                </a:solidFill>
              </a:rPr>
              <a:t>21</a:t>
            </a:r>
            <a:r>
              <a:rPr b="0" baseline="0" cap="none" dirty="0" i="1" kern="1200" kumimoji="0" lang="en-ZA" noProof="0" normalizeH="0" spc="0" strike="noStrike" sz="1400" u="none">
                <a:ln>
                  <a:noFill/>
                </a:ln>
                <a:solidFill>
                  <a:srgbClr val="FFFFFF"/>
                </a:solidFill>
                <a:effectLst/>
                <a:uLnTx/>
                <a:uFillTx/>
                <a:latin charset="0" panose="020B0502020202020204" pitchFamily="34" typeface="Century Gothic"/>
                <a:ea typeface="+mn-ea"/>
                <a:cs typeface="+mn-cs"/>
              </a:rPr>
              <a:t> June 2023 </a:t>
            </a:r>
          </a:p>
        </p:txBody>
      </p:sp>
      <p:sp>
        <p:nvSpPr>
          <p:cNvPr id="8" name="TextBox 7">
            <a:extLst>
              <a:ext uri="{FF2B5EF4-FFF2-40B4-BE49-F238E27FC236}">
                <a16:creationId xmlns:a16="http://schemas.microsoft.com/office/drawing/2014/main" id="{866EF0AB-0743-C4DD-E769-12DB765C51EF}"/>
              </a:ext>
            </a:extLst>
          </p:cNvPr>
          <p:cNvSpPr txBox="1"/>
          <p:nvPr/>
        </p:nvSpPr>
        <p:spPr>
          <a:xfrm>
            <a:off x="6431001" y="4041895"/>
            <a:ext cx="5209862" cy="523220"/>
          </a:xfrm>
          <a:prstGeom prst="rect">
            <a:avLst/>
          </a:prstGeom>
          <a:noFill/>
        </p:spPr>
        <p:txBody>
          <a:bodyPr anchor="b" rtlCol="0" wrap="square">
            <a:spAutoFit/>
          </a:bodyPr>
          <a:lstStyle/>
          <a:p>
            <a:pPr algn="r" defTabSz="609402"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2800" u="none">
                <a:ln>
                  <a:noFill/>
                </a:ln>
                <a:solidFill>
                  <a:srgbClr val="FFFFFF"/>
                </a:solidFill>
                <a:effectLst/>
                <a:uLnTx/>
                <a:uFillTx/>
                <a:latin panose="020F0302020204030204" typeface="Century Gothic"/>
                <a:ea typeface="+mn-ea"/>
                <a:cs typeface="+mn-cs"/>
              </a:rPr>
              <a:t>CBC 2023</a:t>
            </a:r>
          </a:p>
        </p:txBody>
      </p:sp>
      <p:sp>
        <p:nvSpPr>
          <p:cNvPr id="19" name="Oval 18">
            <a:extLst>
              <a:ext uri="{FF2B5EF4-FFF2-40B4-BE49-F238E27FC236}">
                <a16:creationId xmlns:a16="http://schemas.microsoft.com/office/drawing/2014/main" id="{A1CB8BC4-795C-179A-4A3C-0DAD240883DB}"/>
              </a:ext>
            </a:extLst>
          </p:cNvPr>
          <p:cNvSpPr/>
          <p:nvPr/>
        </p:nvSpPr>
        <p:spPr>
          <a:xfrm>
            <a:off x="4750871" y="1291869"/>
            <a:ext cx="2479976" cy="24799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440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1800" u="none">
              <a:ln>
                <a:noFill/>
              </a:ln>
              <a:solidFill>
                <a:srgbClr val="FFFFFF"/>
              </a:solidFill>
              <a:effectLst/>
              <a:uLnTx/>
              <a:uFillTx/>
              <a:latin panose="020F0502020204030204" typeface="Calibri"/>
              <a:ea typeface="+mn-ea"/>
              <a:cs typeface="+mn-cs"/>
            </a:endParaRPr>
          </a:p>
        </p:txBody>
      </p:sp>
      <p:sp>
        <p:nvSpPr>
          <p:cNvPr id="9" name="TextBox 8">
            <a:extLst>
              <a:ext uri="{FF2B5EF4-FFF2-40B4-BE49-F238E27FC236}">
                <a16:creationId xmlns:a16="http://schemas.microsoft.com/office/drawing/2014/main" id="{08A773DE-5EA3-84A5-BBB8-685B958533E9}"/>
              </a:ext>
            </a:extLst>
          </p:cNvPr>
          <p:cNvSpPr txBox="1"/>
          <p:nvPr/>
        </p:nvSpPr>
        <p:spPr>
          <a:xfrm>
            <a:off x="4750871" y="1949148"/>
            <a:ext cx="2479976" cy="1261884"/>
          </a:xfrm>
          <a:prstGeom prst="rect">
            <a:avLst/>
          </a:prstGeom>
          <a:noFill/>
        </p:spPr>
        <p:txBody>
          <a:bodyPr anchor="b" rtlCol="0" wrap="square">
            <a:spAutoFit/>
          </a:bodyPr>
          <a:lstStyle/>
          <a:p>
            <a:pPr algn="ctr" defTabSz="914400" eaLnBrk="1" fontAlgn="auto" hangingPunct="1" indent="0" latinLnBrk="0" lvl="0" marL="0" marR="0" rtl="0">
              <a:lnSpc>
                <a:spcPct val="100000"/>
              </a:lnSpc>
              <a:spcBef>
                <a:spcPts val="0"/>
              </a:spcBef>
              <a:spcAft>
                <a:spcPts val="0"/>
              </a:spcAft>
              <a:buClrTx/>
              <a:buSzTx/>
              <a:buFontTx/>
              <a:buNone/>
              <a:tabLst/>
              <a:defRPr/>
            </a:pPr>
            <a:r>
              <a:rPr b="1" baseline="0" cap="none" dirty="0" i="0" kern="1200" kumimoji="0" lang="en-US" noProof="0" normalizeH="0" spc="0" strike="noStrike" sz="2800" u="none">
                <a:ln>
                  <a:noFill/>
                </a:ln>
                <a:solidFill>
                  <a:srgbClr val="002060"/>
                </a:solidFill>
                <a:effectLst/>
                <a:uLnTx/>
                <a:uFillTx/>
                <a:latin charset="0" typeface="Century Gothic"/>
                <a:ea charset="0" typeface="Century Gothic"/>
                <a:cs charset="0" typeface="Century Gothic"/>
              </a:rPr>
              <a:t>STRATEGY 2030</a:t>
            </a:r>
          </a:p>
          <a:p>
            <a:pPr algn="ctr" defTabSz="914400" eaLnBrk="1" fontAlgn="auto" hangingPunct="1" indent="0" latinLnBrk="0" lvl="0" marL="0" marR="0" rtl="0">
              <a:lnSpc>
                <a:spcPct val="100000"/>
              </a:lnSpc>
              <a:spcBef>
                <a:spcPts val="0"/>
              </a:spcBef>
              <a:spcAft>
                <a:spcPts val="0"/>
              </a:spcAft>
              <a:buClrTx/>
              <a:buSzTx/>
              <a:buFontTx/>
              <a:buNone/>
              <a:tabLst/>
              <a:defRPr/>
            </a:pPr>
            <a:r>
              <a:rPr b="1" baseline="0" cap="none" dirty="0" i="1" kern="1200" kumimoji="0" lang="en-US" noProof="0" normalizeH="0" spc="0" strike="noStrike" sz="2000" u="none">
                <a:ln>
                  <a:noFill/>
                </a:ln>
                <a:solidFill>
                  <a:srgbClr val="FFC000"/>
                </a:solidFill>
                <a:effectLst/>
                <a:uLnTx/>
                <a:uFillTx/>
                <a:latin charset="0" typeface="Century Gothic"/>
                <a:ea charset="0" typeface="Century Gothic"/>
                <a:cs charset="0" typeface="Century Gothic"/>
              </a:rPr>
              <a:t>#CultureShift</a:t>
            </a:r>
          </a:p>
        </p:txBody>
      </p:sp>
    </p:spTree>
    <p:extLst>
      <p:ext uri="{BB962C8B-B14F-4D97-AF65-F5344CB8AC3E}">
        <p14:creationId xmlns:p14="http://schemas.microsoft.com/office/powerpoint/2010/main" val="354572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3745" y="259633"/>
            <a:ext cx="10438551" cy="481681"/>
          </a:xfrm>
        </p:spPr>
        <p:txBody>
          <a:bodyPr>
            <a:normAutofit/>
          </a:bodyPr>
          <a:lstStyle/>
          <a:p>
            <a:r>
              <a:rPr lang="en-US" dirty="0"/>
              <a:t>OUR MISSION AND VISION</a:t>
            </a:r>
          </a:p>
        </p:txBody>
      </p:sp>
      <p:sp>
        <p:nvSpPr>
          <p:cNvPr id="386" name="TextBox 385">
            <a:extLst>
              <a:ext uri="{FF2B5EF4-FFF2-40B4-BE49-F238E27FC236}">
                <a16:creationId xmlns:a16="http://schemas.microsoft.com/office/drawing/2014/main" id="{7EF7371E-48F4-44A9-6677-FF1D45CD0621}"/>
              </a:ext>
            </a:extLst>
          </p:cNvPr>
          <p:cNvSpPr txBox="1"/>
          <p:nvPr/>
        </p:nvSpPr>
        <p:spPr>
          <a:xfrm>
            <a:off x="3095415" y="5940797"/>
            <a:ext cx="154863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Nutrition/Transport</a:t>
            </a:r>
          </a:p>
        </p:txBody>
      </p:sp>
      <p:sp>
        <p:nvSpPr>
          <p:cNvPr id="8" name="Round Same-side Corner of Rectangle 5">
            <a:extLst>
              <a:ext uri="{FF2B5EF4-FFF2-40B4-BE49-F238E27FC236}">
                <a16:creationId xmlns:a16="http://schemas.microsoft.com/office/drawing/2014/main" id="{0F1576DA-6E3C-DE6C-7CA9-8683F6A4A525}"/>
              </a:ext>
            </a:extLst>
          </p:cNvPr>
          <p:cNvSpPr/>
          <p:nvPr/>
        </p:nvSpPr>
        <p:spPr>
          <a:xfrm flipV="1">
            <a:off x="1676400" y="1832919"/>
            <a:ext cx="3832982" cy="4107878"/>
          </a:xfrm>
          <a:prstGeom prst="round2SameRect">
            <a:avLst/>
          </a:prstGeom>
          <a:solidFill>
            <a:srgbClr val="002E6E"/>
          </a:solidFill>
          <a:ln w="38100">
            <a:solidFill>
              <a:srgbClr val="002E6E"/>
            </a:solidFill>
          </a:ln>
          <a:effectLst>
            <a:reflection blurRad="6350" stA="9757" endPos="11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28F7DBE2-522A-DF1E-2C31-CF70F538C675}"/>
              </a:ext>
            </a:extLst>
          </p:cNvPr>
          <p:cNvSpPr/>
          <p:nvPr/>
        </p:nvSpPr>
        <p:spPr>
          <a:xfrm>
            <a:off x="2922142" y="1295400"/>
            <a:ext cx="1341498" cy="1341498"/>
          </a:xfrm>
          <a:prstGeom prst="ellipse">
            <a:avLst/>
          </a:prstGeom>
          <a:solidFill>
            <a:schemeClr val="bg1"/>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14AC4C14-4804-F562-65CA-1ECB427AAAC5}"/>
              </a:ext>
            </a:extLst>
          </p:cNvPr>
          <p:cNvSpPr/>
          <p:nvPr/>
        </p:nvSpPr>
        <p:spPr>
          <a:xfrm>
            <a:off x="3095415" y="1447800"/>
            <a:ext cx="966475" cy="966475"/>
          </a:xfrm>
          <a:prstGeom prst="ellipse">
            <a:avLst/>
          </a:prstGeom>
          <a:solidFill>
            <a:schemeClr val="bg1"/>
          </a:solidFill>
          <a:ln w="101600">
            <a:solidFill>
              <a:srgbClr val="002E6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object 72">
            <a:extLst>
              <a:ext uri="{FF2B5EF4-FFF2-40B4-BE49-F238E27FC236}">
                <a16:creationId xmlns:a16="http://schemas.microsoft.com/office/drawing/2014/main" id="{403BF907-C6E1-D214-45AF-21146A519DC0}"/>
              </a:ext>
            </a:extLst>
          </p:cNvPr>
          <p:cNvSpPr/>
          <p:nvPr/>
        </p:nvSpPr>
        <p:spPr>
          <a:xfrm>
            <a:off x="3268710" y="1624053"/>
            <a:ext cx="596037" cy="593085"/>
          </a:xfrm>
          <a:custGeom>
            <a:avLst/>
            <a:gdLst/>
            <a:ahLst/>
            <a:cxnLst/>
            <a:rect l="l" t="t" r="r" b="b"/>
            <a:pathLst>
              <a:path w="768984" h="765175">
                <a:moveTo>
                  <a:pt x="520497" y="575814"/>
                </a:moveTo>
                <a:lnTo>
                  <a:pt x="361318" y="575814"/>
                </a:lnTo>
                <a:lnTo>
                  <a:pt x="345545" y="578899"/>
                </a:lnTo>
                <a:lnTo>
                  <a:pt x="332534" y="587327"/>
                </a:lnTo>
                <a:lnTo>
                  <a:pt x="323520" y="599863"/>
                </a:lnTo>
                <a:lnTo>
                  <a:pt x="319738" y="615269"/>
                </a:lnTo>
                <a:lnTo>
                  <a:pt x="256861" y="615269"/>
                </a:lnTo>
                <a:lnTo>
                  <a:pt x="237070" y="620159"/>
                </a:lnTo>
                <a:lnTo>
                  <a:pt x="221181" y="632887"/>
                </a:lnTo>
                <a:lnTo>
                  <a:pt x="210460" y="650542"/>
                </a:lnTo>
                <a:lnTo>
                  <a:pt x="206171" y="670209"/>
                </a:lnTo>
                <a:lnTo>
                  <a:pt x="172162" y="670209"/>
                </a:lnTo>
                <a:lnTo>
                  <a:pt x="126735" y="685628"/>
                </a:lnTo>
                <a:lnTo>
                  <a:pt x="110465" y="719056"/>
                </a:lnTo>
                <a:lnTo>
                  <a:pt x="111303" y="728459"/>
                </a:lnTo>
                <a:lnTo>
                  <a:pt x="148315" y="761911"/>
                </a:lnTo>
                <a:lnTo>
                  <a:pt x="172445" y="765065"/>
                </a:lnTo>
                <a:lnTo>
                  <a:pt x="574725" y="765065"/>
                </a:lnTo>
                <a:lnTo>
                  <a:pt x="597232" y="741631"/>
                </a:lnTo>
                <a:lnTo>
                  <a:pt x="172696" y="741631"/>
                </a:lnTo>
                <a:lnTo>
                  <a:pt x="159672" y="740448"/>
                </a:lnTo>
                <a:lnTo>
                  <a:pt x="148933" y="737550"/>
                </a:lnTo>
                <a:lnTo>
                  <a:pt x="140804" y="733070"/>
                </a:lnTo>
                <a:lnTo>
                  <a:pt x="135608" y="727140"/>
                </a:lnTo>
                <a:lnTo>
                  <a:pt x="132739" y="721862"/>
                </a:lnTo>
                <a:lnTo>
                  <a:pt x="133210" y="715423"/>
                </a:lnTo>
                <a:lnTo>
                  <a:pt x="170308" y="693601"/>
                </a:lnTo>
                <a:lnTo>
                  <a:pt x="222924" y="693601"/>
                </a:lnTo>
                <a:lnTo>
                  <a:pt x="226307" y="691905"/>
                </a:lnTo>
                <a:lnTo>
                  <a:pt x="228537" y="689005"/>
                </a:lnTo>
                <a:lnTo>
                  <a:pt x="230746" y="686083"/>
                </a:lnTo>
                <a:lnTo>
                  <a:pt x="231458" y="682303"/>
                </a:lnTo>
                <a:lnTo>
                  <a:pt x="230495" y="678785"/>
                </a:lnTo>
                <a:lnTo>
                  <a:pt x="229877" y="676618"/>
                </a:lnTo>
                <a:lnTo>
                  <a:pt x="229574" y="674220"/>
                </a:lnTo>
                <a:lnTo>
                  <a:pt x="256861" y="638692"/>
                </a:lnTo>
                <a:lnTo>
                  <a:pt x="336953" y="638692"/>
                </a:lnTo>
                <a:lnTo>
                  <a:pt x="340523" y="636818"/>
                </a:lnTo>
                <a:lnTo>
                  <a:pt x="343298" y="632887"/>
                </a:lnTo>
                <a:lnTo>
                  <a:pt x="344900" y="630577"/>
                </a:lnTo>
                <a:lnTo>
                  <a:pt x="345444" y="626567"/>
                </a:lnTo>
                <a:lnTo>
                  <a:pt x="343465" y="621122"/>
                </a:lnTo>
                <a:lnTo>
                  <a:pt x="343130" y="619164"/>
                </a:lnTo>
                <a:lnTo>
                  <a:pt x="343130" y="617143"/>
                </a:lnTo>
                <a:lnTo>
                  <a:pt x="344562" y="610181"/>
                </a:lnTo>
                <a:lnTo>
                  <a:pt x="348463" y="604493"/>
                </a:lnTo>
                <a:lnTo>
                  <a:pt x="354245" y="600656"/>
                </a:lnTo>
                <a:lnTo>
                  <a:pt x="361318" y="599248"/>
                </a:lnTo>
                <a:lnTo>
                  <a:pt x="557603" y="599248"/>
                </a:lnTo>
                <a:lnTo>
                  <a:pt x="549915" y="587934"/>
                </a:lnTo>
                <a:lnTo>
                  <a:pt x="536683" y="579068"/>
                </a:lnTo>
                <a:lnTo>
                  <a:pt x="520497" y="575814"/>
                </a:lnTo>
                <a:close/>
              </a:path>
              <a:path w="768984" h="765175">
                <a:moveTo>
                  <a:pt x="557603" y="599248"/>
                </a:moveTo>
                <a:lnTo>
                  <a:pt x="520497" y="599248"/>
                </a:lnTo>
                <a:lnTo>
                  <a:pt x="527570" y="600656"/>
                </a:lnTo>
                <a:lnTo>
                  <a:pt x="533352" y="604493"/>
                </a:lnTo>
                <a:lnTo>
                  <a:pt x="537253" y="610181"/>
                </a:lnTo>
                <a:lnTo>
                  <a:pt x="538685" y="617143"/>
                </a:lnTo>
                <a:lnTo>
                  <a:pt x="538634" y="620159"/>
                </a:lnTo>
                <a:lnTo>
                  <a:pt x="538035" y="622640"/>
                </a:lnTo>
                <a:lnTo>
                  <a:pt x="534894" y="628588"/>
                </a:lnTo>
                <a:lnTo>
                  <a:pt x="535009" y="632954"/>
                </a:lnTo>
                <a:lnTo>
                  <a:pt x="539240" y="639980"/>
                </a:lnTo>
                <a:lnTo>
                  <a:pt x="543061" y="642147"/>
                </a:lnTo>
                <a:lnTo>
                  <a:pt x="616441" y="642147"/>
                </a:lnTo>
                <a:lnTo>
                  <a:pt x="625928" y="643935"/>
                </a:lnTo>
                <a:lnTo>
                  <a:pt x="634936" y="648692"/>
                </a:lnTo>
                <a:lnTo>
                  <a:pt x="641662" y="655506"/>
                </a:lnTo>
                <a:lnTo>
                  <a:pt x="644304" y="663466"/>
                </a:lnTo>
                <a:lnTo>
                  <a:pt x="641662" y="671428"/>
                </a:lnTo>
                <a:lnTo>
                  <a:pt x="634936" y="678234"/>
                </a:lnTo>
                <a:lnTo>
                  <a:pt x="625928" y="682981"/>
                </a:lnTo>
                <a:lnTo>
                  <a:pt x="616441" y="684764"/>
                </a:lnTo>
                <a:lnTo>
                  <a:pt x="567762" y="684764"/>
                </a:lnTo>
                <a:lnTo>
                  <a:pt x="563155" y="688272"/>
                </a:lnTo>
                <a:lnTo>
                  <a:pt x="560338" y="698439"/>
                </a:lnTo>
                <a:lnTo>
                  <a:pt x="562506" y="703821"/>
                </a:lnTo>
                <a:lnTo>
                  <a:pt x="573521" y="710386"/>
                </a:lnTo>
                <a:lnTo>
                  <a:pt x="577553" y="717381"/>
                </a:lnTo>
                <a:lnTo>
                  <a:pt x="577553" y="731380"/>
                </a:lnTo>
                <a:lnTo>
                  <a:pt x="574401" y="737621"/>
                </a:lnTo>
                <a:lnTo>
                  <a:pt x="569176" y="741631"/>
                </a:lnTo>
                <a:lnTo>
                  <a:pt x="597232" y="741631"/>
                </a:lnTo>
                <a:lnTo>
                  <a:pt x="599415" y="736416"/>
                </a:lnTo>
                <a:lnTo>
                  <a:pt x="600976" y="724794"/>
                </a:lnTo>
                <a:lnTo>
                  <a:pt x="600976" y="719056"/>
                </a:lnTo>
                <a:lnTo>
                  <a:pt x="599835" y="713402"/>
                </a:lnTo>
                <a:lnTo>
                  <a:pt x="597709" y="708187"/>
                </a:lnTo>
                <a:lnTo>
                  <a:pt x="616441" y="708187"/>
                </a:lnTo>
                <a:lnTo>
                  <a:pt x="634665" y="704800"/>
                </a:lnTo>
                <a:lnTo>
                  <a:pt x="651164" y="695427"/>
                </a:lnTo>
                <a:lnTo>
                  <a:pt x="663126" y="681254"/>
                </a:lnTo>
                <a:lnTo>
                  <a:pt x="667738" y="663466"/>
                </a:lnTo>
                <a:lnTo>
                  <a:pt x="663126" y="645679"/>
                </a:lnTo>
                <a:lnTo>
                  <a:pt x="651164" y="631499"/>
                </a:lnTo>
                <a:lnTo>
                  <a:pt x="634665" y="622116"/>
                </a:lnTo>
                <a:lnTo>
                  <a:pt x="616441" y="618724"/>
                </a:lnTo>
                <a:lnTo>
                  <a:pt x="562087" y="618724"/>
                </a:lnTo>
                <a:lnTo>
                  <a:pt x="562119" y="617143"/>
                </a:lnTo>
                <a:lnTo>
                  <a:pt x="558843" y="601073"/>
                </a:lnTo>
                <a:lnTo>
                  <a:pt x="557603" y="599248"/>
                </a:lnTo>
                <a:close/>
              </a:path>
              <a:path w="768984" h="765175">
                <a:moveTo>
                  <a:pt x="589590" y="437965"/>
                </a:moveTo>
                <a:lnTo>
                  <a:pt x="560768" y="437965"/>
                </a:lnTo>
                <a:lnTo>
                  <a:pt x="749600" y="701130"/>
                </a:lnTo>
                <a:lnTo>
                  <a:pt x="756929" y="702334"/>
                </a:lnTo>
                <a:lnTo>
                  <a:pt x="767453" y="694774"/>
                </a:lnTo>
                <a:lnTo>
                  <a:pt x="768657" y="687455"/>
                </a:lnTo>
                <a:lnTo>
                  <a:pt x="589590" y="437965"/>
                </a:lnTo>
                <a:close/>
              </a:path>
              <a:path w="768984" h="765175">
                <a:moveTo>
                  <a:pt x="530842" y="0"/>
                </a:moveTo>
                <a:lnTo>
                  <a:pt x="283384" y="0"/>
                </a:lnTo>
                <a:lnTo>
                  <a:pt x="278138" y="5235"/>
                </a:lnTo>
                <a:lnTo>
                  <a:pt x="278138" y="175680"/>
                </a:lnTo>
                <a:lnTo>
                  <a:pt x="0" y="689005"/>
                </a:lnTo>
                <a:lnTo>
                  <a:pt x="2125" y="696093"/>
                </a:lnTo>
                <a:lnTo>
                  <a:pt x="7800" y="699203"/>
                </a:lnTo>
                <a:lnTo>
                  <a:pt x="13528" y="702240"/>
                </a:lnTo>
                <a:lnTo>
                  <a:pt x="20606" y="700135"/>
                </a:lnTo>
                <a:lnTo>
                  <a:pt x="133001" y="492728"/>
                </a:lnTo>
                <a:lnTo>
                  <a:pt x="203218" y="425756"/>
                </a:lnTo>
                <a:lnTo>
                  <a:pt x="169282" y="425756"/>
                </a:lnTo>
                <a:lnTo>
                  <a:pt x="290211" y="202580"/>
                </a:lnTo>
                <a:lnTo>
                  <a:pt x="316535" y="202580"/>
                </a:lnTo>
                <a:lnTo>
                  <a:pt x="301571" y="173429"/>
                </a:lnTo>
                <a:lnTo>
                  <a:pt x="301571" y="101085"/>
                </a:lnTo>
                <a:lnTo>
                  <a:pt x="530842" y="101085"/>
                </a:lnTo>
                <a:lnTo>
                  <a:pt x="535585" y="97284"/>
                </a:lnTo>
                <a:lnTo>
                  <a:pt x="537983" y="86594"/>
                </a:lnTo>
                <a:lnTo>
                  <a:pt x="535313" y="81128"/>
                </a:lnTo>
                <a:lnTo>
                  <a:pt x="527996" y="77662"/>
                </a:lnTo>
                <a:lnTo>
                  <a:pt x="301571" y="77662"/>
                </a:lnTo>
                <a:lnTo>
                  <a:pt x="301571" y="23423"/>
                </a:lnTo>
                <a:lnTo>
                  <a:pt x="527980" y="23423"/>
                </a:lnTo>
                <a:lnTo>
                  <a:pt x="535334" y="19936"/>
                </a:lnTo>
                <a:lnTo>
                  <a:pt x="537983" y="14481"/>
                </a:lnTo>
                <a:lnTo>
                  <a:pt x="535585" y="3800"/>
                </a:lnTo>
                <a:lnTo>
                  <a:pt x="530842" y="0"/>
                </a:lnTo>
                <a:close/>
              </a:path>
              <a:path w="768984" h="765175">
                <a:moveTo>
                  <a:pt x="222924" y="693601"/>
                </a:moveTo>
                <a:lnTo>
                  <a:pt x="171335" y="693601"/>
                </a:lnTo>
                <a:lnTo>
                  <a:pt x="171848" y="693633"/>
                </a:lnTo>
                <a:lnTo>
                  <a:pt x="222862" y="693633"/>
                </a:lnTo>
                <a:close/>
              </a:path>
              <a:path w="768984" h="765175">
                <a:moveTo>
                  <a:pt x="374885" y="400134"/>
                </a:moveTo>
                <a:lnTo>
                  <a:pt x="338021" y="400134"/>
                </a:lnTo>
                <a:lnTo>
                  <a:pt x="430814" y="476446"/>
                </a:lnTo>
                <a:lnTo>
                  <a:pt x="481817" y="575814"/>
                </a:lnTo>
                <a:lnTo>
                  <a:pt x="507565" y="575814"/>
                </a:lnTo>
                <a:lnTo>
                  <a:pt x="507366" y="574705"/>
                </a:lnTo>
                <a:lnTo>
                  <a:pt x="507000" y="573595"/>
                </a:lnTo>
                <a:lnTo>
                  <a:pt x="473116" y="507576"/>
                </a:lnTo>
                <a:lnTo>
                  <a:pt x="473681" y="507199"/>
                </a:lnTo>
                <a:lnTo>
                  <a:pt x="499865" y="486383"/>
                </a:lnTo>
                <a:lnTo>
                  <a:pt x="462216" y="486383"/>
                </a:lnTo>
                <a:lnTo>
                  <a:pt x="430176" y="423966"/>
                </a:lnTo>
                <a:lnTo>
                  <a:pt x="403851" y="423966"/>
                </a:lnTo>
                <a:lnTo>
                  <a:pt x="374885" y="400134"/>
                </a:lnTo>
                <a:close/>
              </a:path>
              <a:path w="768984" h="765175">
                <a:moveTo>
                  <a:pt x="561605" y="409034"/>
                </a:moveTo>
                <a:lnTo>
                  <a:pt x="558339" y="409966"/>
                </a:lnTo>
                <a:lnTo>
                  <a:pt x="462216" y="486383"/>
                </a:lnTo>
                <a:lnTo>
                  <a:pt x="499865" y="486383"/>
                </a:lnTo>
                <a:lnTo>
                  <a:pt x="560768" y="437965"/>
                </a:lnTo>
                <a:lnTo>
                  <a:pt x="589590" y="437965"/>
                </a:lnTo>
                <a:lnTo>
                  <a:pt x="570757" y="411725"/>
                </a:lnTo>
                <a:lnTo>
                  <a:pt x="567898" y="409997"/>
                </a:lnTo>
                <a:lnTo>
                  <a:pt x="564715" y="409558"/>
                </a:lnTo>
                <a:lnTo>
                  <a:pt x="561605" y="409034"/>
                </a:lnTo>
                <a:close/>
              </a:path>
              <a:path w="768984" h="765175">
                <a:moveTo>
                  <a:pt x="271392" y="384700"/>
                </a:moveTo>
                <a:lnTo>
                  <a:pt x="246264" y="384700"/>
                </a:lnTo>
                <a:lnTo>
                  <a:pt x="282096" y="476718"/>
                </a:lnTo>
                <a:lnTo>
                  <a:pt x="286169" y="479639"/>
                </a:lnTo>
                <a:lnTo>
                  <a:pt x="290807" y="479817"/>
                </a:lnTo>
                <a:lnTo>
                  <a:pt x="295645" y="480697"/>
                </a:lnTo>
                <a:lnTo>
                  <a:pt x="299770" y="477472"/>
                </a:lnTo>
                <a:lnTo>
                  <a:pt x="318730" y="439138"/>
                </a:lnTo>
                <a:lnTo>
                  <a:pt x="292598" y="439138"/>
                </a:lnTo>
                <a:lnTo>
                  <a:pt x="271392" y="384700"/>
                </a:lnTo>
                <a:close/>
              </a:path>
              <a:path w="768984" h="765175">
                <a:moveTo>
                  <a:pt x="335131" y="369528"/>
                </a:moveTo>
                <a:lnTo>
                  <a:pt x="331602" y="370260"/>
                </a:lnTo>
                <a:lnTo>
                  <a:pt x="328105" y="371025"/>
                </a:lnTo>
                <a:lnTo>
                  <a:pt x="325141" y="373308"/>
                </a:lnTo>
                <a:lnTo>
                  <a:pt x="292598" y="439138"/>
                </a:lnTo>
                <a:lnTo>
                  <a:pt x="318730" y="439138"/>
                </a:lnTo>
                <a:lnTo>
                  <a:pt x="338021" y="400134"/>
                </a:lnTo>
                <a:lnTo>
                  <a:pt x="374885" y="400134"/>
                </a:lnTo>
                <a:lnTo>
                  <a:pt x="338754" y="370407"/>
                </a:lnTo>
                <a:lnTo>
                  <a:pt x="335131" y="369528"/>
                </a:lnTo>
                <a:close/>
              </a:path>
              <a:path w="768984" h="765175">
                <a:moveTo>
                  <a:pt x="251678" y="352450"/>
                </a:moveTo>
                <a:lnTo>
                  <a:pt x="247856" y="352450"/>
                </a:lnTo>
                <a:lnTo>
                  <a:pt x="244945" y="353591"/>
                </a:lnTo>
                <a:lnTo>
                  <a:pt x="169282" y="425756"/>
                </a:lnTo>
                <a:lnTo>
                  <a:pt x="203218" y="425756"/>
                </a:lnTo>
                <a:lnTo>
                  <a:pt x="246264" y="384700"/>
                </a:lnTo>
                <a:lnTo>
                  <a:pt x="271392" y="384700"/>
                </a:lnTo>
                <a:lnTo>
                  <a:pt x="260327" y="356292"/>
                </a:lnTo>
                <a:lnTo>
                  <a:pt x="257185" y="353580"/>
                </a:lnTo>
                <a:lnTo>
                  <a:pt x="252536" y="352554"/>
                </a:lnTo>
                <a:lnTo>
                  <a:pt x="251678" y="352450"/>
                </a:lnTo>
                <a:close/>
              </a:path>
              <a:path w="768984" h="765175">
                <a:moveTo>
                  <a:pt x="316535" y="202580"/>
                </a:moveTo>
                <a:lnTo>
                  <a:pt x="290211" y="202580"/>
                </a:lnTo>
                <a:lnTo>
                  <a:pt x="403851" y="423966"/>
                </a:lnTo>
                <a:lnTo>
                  <a:pt x="430176" y="423966"/>
                </a:lnTo>
                <a:lnTo>
                  <a:pt x="316535" y="202580"/>
                </a:lnTo>
                <a:close/>
              </a:path>
              <a:path w="768984" h="765175">
                <a:moveTo>
                  <a:pt x="527980" y="23423"/>
                </a:moveTo>
                <a:lnTo>
                  <a:pt x="473336" y="23423"/>
                </a:lnTo>
                <a:lnTo>
                  <a:pt x="434300" y="41935"/>
                </a:lnTo>
                <a:lnTo>
                  <a:pt x="431693" y="46050"/>
                </a:lnTo>
                <a:lnTo>
                  <a:pt x="431693" y="55097"/>
                </a:lnTo>
                <a:lnTo>
                  <a:pt x="434300" y="59223"/>
                </a:lnTo>
                <a:lnTo>
                  <a:pt x="473263" y="77662"/>
                </a:lnTo>
                <a:lnTo>
                  <a:pt x="527996" y="77662"/>
                </a:lnTo>
                <a:lnTo>
                  <a:pt x="470760" y="50553"/>
                </a:lnTo>
                <a:lnTo>
                  <a:pt x="527980" y="23423"/>
                </a:lnTo>
                <a:close/>
              </a:path>
            </a:pathLst>
          </a:custGeom>
          <a:solidFill>
            <a:srgbClr val="00A88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15"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A30DA6DB-8887-0019-DB00-3696909B0ABB}"/>
              </a:ext>
            </a:extLst>
          </p:cNvPr>
          <p:cNvSpPr txBox="1"/>
          <p:nvPr/>
        </p:nvSpPr>
        <p:spPr>
          <a:xfrm>
            <a:off x="1907014" y="2718784"/>
            <a:ext cx="3343275" cy="3078215"/>
          </a:xfrm>
          <a:prstGeom prst="rect">
            <a:avLst/>
          </a:prstGeom>
          <a:noFill/>
        </p:spPr>
        <p:txBody>
          <a:bodyPr wrap="square">
            <a:sp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2160" b="1" i="0" u="none" strike="noStrike" kern="1200" cap="none" spc="0" normalizeH="0" baseline="0" noProof="0" dirty="0">
                <a:ln>
                  <a:noFill/>
                </a:ln>
                <a:solidFill>
                  <a:srgbClr val="44546A">
                    <a:lumMod val="40000"/>
                    <a:lumOff val="60000"/>
                  </a:srgbClr>
                </a:solidFill>
                <a:effectLst/>
                <a:uLnTx/>
                <a:uFillTx/>
                <a:latin typeface="Century Gothic" panose="020B0502020202020204" pitchFamily="34" charset="0"/>
                <a:ea typeface="+mn-ea"/>
                <a:cs typeface="Arial" panose="020B0604020202020204" pitchFamily="34" charset="0"/>
              </a:rPr>
              <a:t>MISSION</a:t>
            </a:r>
          </a:p>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US" sz="1350" b="1" i="0" u="none" strike="noStrike" kern="1200" cap="none" spc="0" normalizeH="0" baseline="0" noProof="0" dirty="0">
              <a:ln>
                <a:noFill/>
              </a:ln>
              <a:solidFill>
                <a:srgbClr val="00A88E"/>
              </a:solidFill>
              <a:effectLst/>
              <a:uLnTx/>
              <a:uFillTx/>
              <a:latin typeface="Century Gothic" panose="020B0502020202020204" pitchFamily="34" charset="0"/>
              <a:ea typeface="+mn-ea"/>
              <a:cs typeface="Arial" panose="020B0604020202020204" pitchFamily="34" charset="0"/>
            </a:endParaRPr>
          </a:p>
          <a:p>
            <a:pPr marL="0" marR="0" lvl="0" indent="0" algn="ctr" defTabSz="617220" rtl="0" eaLnBrk="1" fontAlgn="auto" latinLnBrk="0" hangingPunct="1">
              <a:lnSpc>
                <a:spcPct val="125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Century Gothic" panose="020B0502020202020204" pitchFamily="34" charset="0"/>
                <a:ea typeface="Century Gothic" charset="0"/>
                <a:cs typeface="Arial" panose="020B0604020202020204" pitchFamily="34" charset="0"/>
              </a:rPr>
              <a:t>The Auditor-General of South Africa has a constitutional mandate and, as the supreme audit institution of South Africa, exists to strengthen our country’s democracy by enabling oversight, accountability and governance in the public sector through auditing, thereby building public confidence</a:t>
            </a:r>
          </a:p>
        </p:txBody>
      </p:sp>
      <p:sp>
        <p:nvSpPr>
          <p:cNvPr id="13" name="Round Same-side Corner of Rectangle 9">
            <a:extLst>
              <a:ext uri="{FF2B5EF4-FFF2-40B4-BE49-F238E27FC236}">
                <a16:creationId xmlns:a16="http://schemas.microsoft.com/office/drawing/2014/main" id="{2034607B-DD72-D78C-E601-7F46F42FE2D9}"/>
              </a:ext>
            </a:extLst>
          </p:cNvPr>
          <p:cNvSpPr/>
          <p:nvPr/>
        </p:nvSpPr>
        <p:spPr>
          <a:xfrm flipV="1">
            <a:off x="6947446" y="1832919"/>
            <a:ext cx="3949153" cy="4107878"/>
          </a:xfrm>
          <a:prstGeom prst="round2SameRect">
            <a:avLst/>
          </a:prstGeom>
          <a:solidFill>
            <a:srgbClr val="012D6E"/>
          </a:solidFill>
          <a:ln w="38100">
            <a:solidFill>
              <a:srgbClr val="002E6E"/>
            </a:solidFill>
          </a:ln>
          <a:effectLst>
            <a:reflection blurRad="6350" stA="9757" endPos="11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AC802D8-4181-F1E7-CCAF-0DCAB5465F72}"/>
              </a:ext>
            </a:extLst>
          </p:cNvPr>
          <p:cNvSpPr txBox="1"/>
          <p:nvPr/>
        </p:nvSpPr>
        <p:spPr>
          <a:xfrm>
            <a:off x="7330313" y="2737834"/>
            <a:ext cx="3067249" cy="2039469"/>
          </a:xfrm>
          <a:prstGeom prst="rect">
            <a:avLst/>
          </a:prstGeom>
          <a:noFill/>
        </p:spPr>
        <p:txBody>
          <a:bodyPr wrap="square">
            <a:sp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2160" b="1" i="0" u="none" strike="noStrike" kern="1200" cap="none" spc="0" normalizeH="0" baseline="0" noProof="0" dirty="0">
                <a:ln>
                  <a:noFill/>
                </a:ln>
                <a:solidFill>
                  <a:srgbClr val="44546A">
                    <a:lumMod val="40000"/>
                    <a:lumOff val="60000"/>
                  </a:srgbClr>
                </a:solidFill>
                <a:effectLst/>
                <a:uLnTx/>
                <a:uFillTx/>
                <a:latin typeface="Century Gothic" panose="020B0502020202020204" pitchFamily="34" charset="0"/>
                <a:ea typeface="+mn-ea"/>
                <a:cs typeface="Arial" panose="020B0604020202020204" pitchFamily="34" charset="0"/>
              </a:rPr>
              <a:t>VISION</a:t>
            </a:r>
          </a:p>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Century Gothic" charset="0"/>
              <a:cs typeface="Arial" panose="020B0604020202020204" pitchFamily="34" charset="0"/>
            </a:endParaRPr>
          </a:p>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Century Gothic" panose="020B0502020202020204" pitchFamily="34" charset="0"/>
                <a:ea typeface="Century Gothic" charset="0"/>
                <a:cs typeface="Arial" panose="020B0604020202020204" pitchFamily="34" charset="0"/>
              </a:rPr>
              <a:t>To be recognised by all our stakeholders as a relevant supreme audit institution that enhances public sector accountability</a:t>
            </a:r>
          </a:p>
        </p:txBody>
      </p:sp>
      <p:sp>
        <p:nvSpPr>
          <p:cNvPr id="16" name="Oval 15">
            <a:extLst>
              <a:ext uri="{FF2B5EF4-FFF2-40B4-BE49-F238E27FC236}">
                <a16:creationId xmlns:a16="http://schemas.microsoft.com/office/drawing/2014/main" id="{CDDB1667-47DE-6267-FE8B-6784E24A78A5}"/>
              </a:ext>
            </a:extLst>
          </p:cNvPr>
          <p:cNvSpPr/>
          <p:nvPr/>
        </p:nvSpPr>
        <p:spPr>
          <a:xfrm>
            <a:off x="8193188" y="1304925"/>
            <a:ext cx="1341498" cy="1341498"/>
          </a:xfrm>
          <a:prstGeom prst="ellipse">
            <a:avLst/>
          </a:prstGeom>
          <a:solidFill>
            <a:schemeClr val="bg1"/>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2F1E489F-AED4-CCBA-EE81-9F50915D8098}"/>
              </a:ext>
            </a:extLst>
          </p:cNvPr>
          <p:cNvSpPr/>
          <p:nvPr/>
        </p:nvSpPr>
        <p:spPr>
          <a:xfrm>
            <a:off x="8380699" y="1482911"/>
            <a:ext cx="966475" cy="966475"/>
          </a:xfrm>
          <a:prstGeom prst="ellipse">
            <a:avLst/>
          </a:prstGeom>
          <a:solidFill>
            <a:schemeClr val="bg1"/>
          </a:solidFill>
          <a:ln w="101600">
            <a:solidFill>
              <a:srgbClr val="002E6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C3060E92-5335-90DA-D424-FB96A960A96E}"/>
              </a:ext>
            </a:extLst>
          </p:cNvPr>
          <p:cNvGrpSpPr/>
          <p:nvPr/>
        </p:nvGrpSpPr>
        <p:grpSpPr>
          <a:xfrm>
            <a:off x="8559765" y="1772472"/>
            <a:ext cx="608342" cy="387351"/>
            <a:chOff x="15161156" y="2499903"/>
            <a:chExt cx="713509" cy="454314"/>
          </a:xfrm>
        </p:grpSpPr>
        <p:sp>
          <p:nvSpPr>
            <p:cNvPr id="19" name="object 53">
              <a:extLst>
                <a:ext uri="{FF2B5EF4-FFF2-40B4-BE49-F238E27FC236}">
                  <a16:creationId xmlns:a16="http://schemas.microsoft.com/office/drawing/2014/main" id="{C19E5976-4D63-181C-362E-0EC12BA04BA2}"/>
                </a:ext>
              </a:extLst>
            </p:cNvPr>
            <p:cNvSpPr/>
            <p:nvPr/>
          </p:nvSpPr>
          <p:spPr>
            <a:xfrm>
              <a:off x="15161156" y="2499903"/>
              <a:ext cx="713509" cy="454314"/>
            </a:xfrm>
            <a:custGeom>
              <a:avLst/>
              <a:gdLst/>
              <a:ahLst/>
              <a:cxnLst/>
              <a:rect l="l" t="t" r="r" b="b"/>
              <a:pathLst>
                <a:path w="784859" h="499745">
                  <a:moveTo>
                    <a:pt x="392166" y="0"/>
                  </a:moveTo>
                  <a:lnTo>
                    <a:pt x="342903" y="2792"/>
                  </a:lnTo>
                  <a:lnTo>
                    <a:pt x="294893" y="11009"/>
                  </a:lnTo>
                  <a:lnTo>
                    <a:pt x="248519" y="24412"/>
                  </a:lnTo>
                  <a:lnTo>
                    <a:pt x="204164" y="42762"/>
                  </a:lnTo>
                  <a:lnTo>
                    <a:pt x="162212" y="65818"/>
                  </a:lnTo>
                  <a:lnTo>
                    <a:pt x="123046" y="93343"/>
                  </a:lnTo>
                  <a:lnTo>
                    <a:pt x="87050" y="125096"/>
                  </a:lnTo>
                  <a:lnTo>
                    <a:pt x="54607" y="160838"/>
                  </a:lnTo>
                  <a:lnTo>
                    <a:pt x="26101" y="200330"/>
                  </a:lnTo>
                  <a:lnTo>
                    <a:pt x="1916" y="243332"/>
                  </a:lnTo>
                  <a:lnTo>
                    <a:pt x="0" y="247280"/>
                  </a:lnTo>
                  <a:lnTo>
                    <a:pt x="0" y="251866"/>
                  </a:lnTo>
                  <a:lnTo>
                    <a:pt x="26101" y="298816"/>
                  </a:lnTo>
                  <a:lnTo>
                    <a:pt x="54607" y="338307"/>
                  </a:lnTo>
                  <a:lnTo>
                    <a:pt x="87050" y="374048"/>
                  </a:lnTo>
                  <a:lnTo>
                    <a:pt x="123046" y="405800"/>
                  </a:lnTo>
                  <a:lnTo>
                    <a:pt x="162212" y="433323"/>
                  </a:lnTo>
                  <a:lnTo>
                    <a:pt x="204164" y="456378"/>
                  </a:lnTo>
                  <a:lnTo>
                    <a:pt x="248519" y="474726"/>
                  </a:lnTo>
                  <a:lnTo>
                    <a:pt x="294893" y="488128"/>
                  </a:lnTo>
                  <a:lnTo>
                    <a:pt x="342903" y="496344"/>
                  </a:lnTo>
                  <a:lnTo>
                    <a:pt x="392166" y="499136"/>
                  </a:lnTo>
                  <a:lnTo>
                    <a:pt x="441420" y="496344"/>
                  </a:lnTo>
                  <a:lnTo>
                    <a:pt x="489425" y="488128"/>
                  </a:lnTo>
                  <a:lnTo>
                    <a:pt x="535796" y="474726"/>
                  </a:lnTo>
                  <a:lnTo>
                    <a:pt x="545577" y="470680"/>
                  </a:lnTo>
                  <a:lnTo>
                    <a:pt x="380947" y="470680"/>
                  </a:lnTo>
                  <a:lnTo>
                    <a:pt x="332893" y="466485"/>
                  </a:lnTo>
                  <a:lnTo>
                    <a:pt x="285258" y="456509"/>
                  </a:lnTo>
                  <a:lnTo>
                    <a:pt x="239158" y="440920"/>
                  </a:lnTo>
                  <a:lnTo>
                    <a:pt x="195631" y="420135"/>
                  </a:lnTo>
                  <a:lnTo>
                    <a:pt x="155074" y="394478"/>
                  </a:lnTo>
                  <a:lnTo>
                    <a:pt x="117884" y="364270"/>
                  </a:lnTo>
                  <a:lnTo>
                    <a:pt x="84456" y="329835"/>
                  </a:lnTo>
                  <a:lnTo>
                    <a:pt x="55190" y="291495"/>
                  </a:lnTo>
                  <a:lnTo>
                    <a:pt x="30480" y="249573"/>
                  </a:lnTo>
                  <a:lnTo>
                    <a:pt x="56154" y="206217"/>
                  </a:lnTo>
                  <a:lnTo>
                    <a:pt x="86557" y="166880"/>
                  </a:lnTo>
                  <a:lnTo>
                    <a:pt x="121219" y="131850"/>
                  </a:lnTo>
                  <a:lnTo>
                    <a:pt x="159666" y="101418"/>
                  </a:lnTo>
                  <a:lnTo>
                    <a:pt x="201427" y="75870"/>
                  </a:lnTo>
                  <a:lnTo>
                    <a:pt x="246029" y="55497"/>
                  </a:lnTo>
                  <a:lnTo>
                    <a:pt x="293001" y="40587"/>
                  </a:lnTo>
                  <a:lnTo>
                    <a:pt x="341871" y="31430"/>
                  </a:lnTo>
                  <a:lnTo>
                    <a:pt x="392166" y="28313"/>
                  </a:lnTo>
                  <a:lnTo>
                    <a:pt x="545224" y="28313"/>
                  </a:lnTo>
                  <a:lnTo>
                    <a:pt x="535796" y="24412"/>
                  </a:lnTo>
                  <a:lnTo>
                    <a:pt x="489425" y="11009"/>
                  </a:lnTo>
                  <a:lnTo>
                    <a:pt x="441420" y="2792"/>
                  </a:lnTo>
                  <a:lnTo>
                    <a:pt x="392166" y="0"/>
                  </a:lnTo>
                  <a:close/>
                </a:path>
                <a:path w="784859" h="499745">
                  <a:moveTo>
                    <a:pt x="545224" y="28313"/>
                  </a:moveTo>
                  <a:lnTo>
                    <a:pt x="392166" y="28313"/>
                  </a:lnTo>
                  <a:lnTo>
                    <a:pt x="442457" y="31430"/>
                  </a:lnTo>
                  <a:lnTo>
                    <a:pt x="491324" y="40587"/>
                  </a:lnTo>
                  <a:lnTo>
                    <a:pt x="538295" y="55497"/>
                  </a:lnTo>
                  <a:lnTo>
                    <a:pt x="582896" y="75870"/>
                  </a:lnTo>
                  <a:lnTo>
                    <a:pt x="624656" y="101418"/>
                  </a:lnTo>
                  <a:lnTo>
                    <a:pt x="663102" y="131850"/>
                  </a:lnTo>
                  <a:lnTo>
                    <a:pt x="697764" y="166880"/>
                  </a:lnTo>
                  <a:lnTo>
                    <a:pt x="728167" y="206217"/>
                  </a:lnTo>
                  <a:lnTo>
                    <a:pt x="753840" y="249573"/>
                  </a:lnTo>
                  <a:lnTo>
                    <a:pt x="726000" y="296026"/>
                  </a:lnTo>
                  <a:lnTo>
                    <a:pt x="692400" y="338200"/>
                  </a:lnTo>
                  <a:lnTo>
                    <a:pt x="653518" y="375562"/>
                  </a:lnTo>
                  <a:lnTo>
                    <a:pt x="609834" y="407579"/>
                  </a:lnTo>
                  <a:lnTo>
                    <a:pt x="567257" y="431155"/>
                  </a:lnTo>
                  <a:lnTo>
                    <a:pt x="522575" y="449329"/>
                  </a:lnTo>
                  <a:lnTo>
                    <a:pt x="476293" y="462025"/>
                  </a:lnTo>
                  <a:lnTo>
                    <a:pt x="428916" y="469168"/>
                  </a:lnTo>
                  <a:lnTo>
                    <a:pt x="380947" y="470680"/>
                  </a:lnTo>
                  <a:lnTo>
                    <a:pt x="545577" y="470680"/>
                  </a:lnTo>
                  <a:lnTo>
                    <a:pt x="622100" y="433323"/>
                  </a:lnTo>
                  <a:lnTo>
                    <a:pt x="661265" y="405800"/>
                  </a:lnTo>
                  <a:lnTo>
                    <a:pt x="697260" y="374048"/>
                  </a:lnTo>
                  <a:lnTo>
                    <a:pt x="729701" y="338307"/>
                  </a:lnTo>
                  <a:lnTo>
                    <a:pt x="758203" y="298816"/>
                  </a:lnTo>
                  <a:lnTo>
                    <a:pt x="782384" y="255814"/>
                  </a:lnTo>
                  <a:lnTo>
                    <a:pt x="784321" y="251866"/>
                  </a:lnTo>
                  <a:lnTo>
                    <a:pt x="784321" y="247280"/>
                  </a:lnTo>
                  <a:lnTo>
                    <a:pt x="758203" y="200330"/>
                  </a:lnTo>
                  <a:lnTo>
                    <a:pt x="729701" y="160838"/>
                  </a:lnTo>
                  <a:lnTo>
                    <a:pt x="697260" y="125096"/>
                  </a:lnTo>
                  <a:lnTo>
                    <a:pt x="661265" y="93343"/>
                  </a:lnTo>
                  <a:lnTo>
                    <a:pt x="622100" y="65818"/>
                  </a:lnTo>
                  <a:lnTo>
                    <a:pt x="580149" y="42762"/>
                  </a:lnTo>
                  <a:lnTo>
                    <a:pt x="545224" y="28313"/>
                  </a:lnTo>
                  <a:close/>
                </a:path>
              </a:pathLst>
            </a:custGeom>
            <a:solidFill>
              <a:srgbClr val="00A88E"/>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1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object 55">
              <a:extLst>
                <a:ext uri="{FF2B5EF4-FFF2-40B4-BE49-F238E27FC236}">
                  <a16:creationId xmlns:a16="http://schemas.microsoft.com/office/drawing/2014/main" id="{FD7D8778-87C6-A5E3-80EA-CE72BEB81A4A}"/>
                </a:ext>
              </a:extLst>
            </p:cNvPr>
            <p:cNvSpPr/>
            <p:nvPr/>
          </p:nvSpPr>
          <p:spPr>
            <a:xfrm>
              <a:off x="15367521" y="2574489"/>
              <a:ext cx="304800" cy="304800"/>
            </a:xfrm>
            <a:custGeom>
              <a:avLst/>
              <a:gdLst/>
              <a:ahLst/>
              <a:cxnLst/>
              <a:rect l="l" t="t" r="r" b="b"/>
              <a:pathLst>
                <a:path w="335279" h="335279">
                  <a:moveTo>
                    <a:pt x="167513" y="0"/>
                  </a:moveTo>
                  <a:lnTo>
                    <a:pt x="122983" y="5984"/>
                  </a:lnTo>
                  <a:lnTo>
                    <a:pt x="82968" y="22871"/>
                  </a:lnTo>
                  <a:lnTo>
                    <a:pt x="49065" y="49065"/>
                  </a:lnTo>
                  <a:lnTo>
                    <a:pt x="22852" y="83012"/>
                  </a:lnTo>
                  <a:lnTo>
                    <a:pt x="5984" y="122983"/>
                  </a:lnTo>
                  <a:lnTo>
                    <a:pt x="0" y="167513"/>
                  </a:lnTo>
                  <a:lnTo>
                    <a:pt x="5984" y="212055"/>
                  </a:lnTo>
                  <a:lnTo>
                    <a:pt x="22871" y="252077"/>
                  </a:lnTo>
                  <a:lnTo>
                    <a:pt x="49065" y="285983"/>
                  </a:lnTo>
                  <a:lnTo>
                    <a:pt x="82968" y="312177"/>
                  </a:lnTo>
                  <a:lnTo>
                    <a:pt x="122983" y="329063"/>
                  </a:lnTo>
                  <a:lnTo>
                    <a:pt x="167513" y="335047"/>
                  </a:lnTo>
                  <a:lnTo>
                    <a:pt x="212050" y="329063"/>
                  </a:lnTo>
                  <a:lnTo>
                    <a:pt x="252067" y="312177"/>
                  </a:lnTo>
                  <a:lnTo>
                    <a:pt x="259112" y="306734"/>
                  </a:lnTo>
                  <a:lnTo>
                    <a:pt x="167513" y="306734"/>
                  </a:lnTo>
                  <a:lnTo>
                    <a:pt x="123513" y="299637"/>
                  </a:lnTo>
                  <a:lnTo>
                    <a:pt x="85296" y="279875"/>
                  </a:lnTo>
                  <a:lnTo>
                    <a:pt x="55138" y="249702"/>
                  </a:lnTo>
                  <a:lnTo>
                    <a:pt x="35388" y="211504"/>
                  </a:lnTo>
                  <a:lnTo>
                    <a:pt x="28292" y="167513"/>
                  </a:lnTo>
                  <a:lnTo>
                    <a:pt x="35391" y="123520"/>
                  </a:lnTo>
                  <a:lnTo>
                    <a:pt x="55157" y="85312"/>
                  </a:lnTo>
                  <a:lnTo>
                    <a:pt x="85296" y="55180"/>
                  </a:lnTo>
                  <a:lnTo>
                    <a:pt x="123513" y="35420"/>
                  </a:lnTo>
                  <a:lnTo>
                    <a:pt x="167513" y="28323"/>
                  </a:lnTo>
                  <a:lnTo>
                    <a:pt x="258998" y="28323"/>
                  </a:lnTo>
                  <a:lnTo>
                    <a:pt x="252021" y="22932"/>
                  </a:lnTo>
                  <a:lnTo>
                    <a:pt x="212022" y="6026"/>
                  </a:lnTo>
                  <a:lnTo>
                    <a:pt x="167513" y="0"/>
                  </a:lnTo>
                  <a:close/>
                </a:path>
                <a:path w="335279" h="335279">
                  <a:moveTo>
                    <a:pt x="258998" y="28323"/>
                  </a:moveTo>
                  <a:lnTo>
                    <a:pt x="167513" y="28323"/>
                  </a:lnTo>
                  <a:lnTo>
                    <a:pt x="211521" y="35420"/>
                  </a:lnTo>
                  <a:lnTo>
                    <a:pt x="249738" y="55180"/>
                  </a:lnTo>
                  <a:lnTo>
                    <a:pt x="279875" y="85312"/>
                  </a:lnTo>
                  <a:lnTo>
                    <a:pt x="299637" y="123520"/>
                  </a:lnTo>
                  <a:lnTo>
                    <a:pt x="306734" y="167513"/>
                  </a:lnTo>
                  <a:lnTo>
                    <a:pt x="299587" y="211521"/>
                  </a:lnTo>
                  <a:lnTo>
                    <a:pt x="279819" y="249702"/>
                  </a:lnTo>
                  <a:lnTo>
                    <a:pt x="249689" y="279828"/>
                  </a:lnTo>
                  <a:lnTo>
                    <a:pt x="211491" y="299599"/>
                  </a:lnTo>
                  <a:lnTo>
                    <a:pt x="167513" y="306734"/>
                  </a:lnTo>
                  <a:lnTo>
                    <a:pt x="259112" y="306734"/>
                  </a:lnTo>
                  <a:lnTo>
                    <a:pt x="285969" y="285983"/>
                  </a:lnTo>
                  <a:lnTo>
                    <a:pt x="312159" y="252077"/>
                  </a:lnTo>
                  <a:lnTo>
                    <a:pt x="329043" y="212055"/>
                  </a:lnTo>
                  <a:lnTo>
                    <a:pt x="335026" y="167513"/>
                  </a:lnTo>
                  <a:lnTo>
                    <a:pt x="329000" y="122983"/>
                  </a:lnTo>
                  <a:lnTo>
                    <a:pt x="312108" y="83012"/>
                  </a:lnTo>
                  <a:lnTo>
                    <a:pt x="285914" y="49124"/>
                  </a:lnTo>
                  <a:lnTo>
                    <a:pt x="258998" y="28323"/>
                  </a:lnTo>
                  <a:close/>
                </a:path>
              </a:pathLst>
            </a:custGeom>
            <a:solidFill>
              <a:srgbClr val="00A88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1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50">
              <a:extLst>
                <a:ext uri="{FF2B5EF4-FFF2-40B4-BE49-F238E27FC236}">
                  <a16:creationId xmlns:a16="http://schemas.microsoft.com/office/drawing/2014/main" id="{486B063F-7909-19A1-1981-5C8E58668755}"/>
                </a:ext>
              </a:extLst>
            </p:cNvPr>
            <p:cNvSpPr/>
            <p:nvPr/>
          </p:nvSpPr>
          <p:spPr>
            <a:xfrm>
              <a:off x="15441709" y="2649933"/>
              <a:ext cx="152400" cy="150813"/>
            </a:xfrm>
            <a:custGeom>
              <a:avLst/>
              <a:gdLst>
                <a:gd name="connsiteX0" fmla="*/ 68341 w 152400"/>
                <a:gd name="connsiteY0" fmla="*/ 0 h 150813"/>
                <a:gd name="connsiteX1" fmla="*/ 63553 w 152400"/>
                <a:gd name="connsiteY1" fmla="*/ 3228 h 150813"/>
                <a:gd name="connsiteX2" fmla="*/ 48309 w 152400"/>
                <a:gd name="connsiteY2" fmla="*/ 40030 h 150813"/>
                <a:gd name="connsiteX3" fmla="*/ 100355 w 152400"/>
                <a:gd name="connsiteY3" fmla="*/ 92076 h 150813"/>
                <a:gd name="connsiteX4" fmla="*/ 148311 w 152400"/>
                <a:gd name="connsiteY4" fmla="*/ 60289 h 150813"/>
                <a:gd name="connsiteX5" fmla="*/ 148910 w 152400"/>
                <a:gd name="connsiteY5" fmla="*/ 57324 h 150813"/>
                <a:gd name="connsiteX6" fmla="*/ 152400 w 152400"/>
                <a:gd name="connsiteY6" fmla="*/ 74613 h 150813"/>
                <a:gd name="connsiteX7" fmla="*/ 76200 w 152400"/>
                <a:gd name="connsiteY7" fmla="*/ 150813 h 150813"/>
                <a:gd name="connsiteX8" fmla="*/ 0 w 152400"/>
                <a:gd name="connsiteY8" fmla="*/ 74613 h 150813"/>
                <a:gd name="connsiteX9" fmla="*/ 46540 w 152400"/>
                <a:gd name="connsiteY9" fmla="*/ 4401 h 150813"/>
                <a:gd name="connsiteX10" fmla="*/ 68341 w 152400"/>
                <a:gd name="connsiteY10" fmla="*/ 0 h 15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00" h="150813">
                  <a:moveTo>
                    <a:pt x="68341" y="0"/>
                  </a:moveTo>
                  <a:lnTo>
                    <a:pt x="63553" y="3228"/>
                  </a:lnTo>
                  <a:cubicBezTo>
                    <a:pt x="54134" y="12647"/>
                    <a:pt x="48309" y="25658"/>
                    <a:pt x="48309" y="40030"/>
                  </a:cubicBezTo>
                  <a:cubicBezTo>
                    <a:pt x="48309" y="68774"/>
                    <a:pt x="71611" y="92076"/>
                    <a:pt x="100355" y="92076"/>
                  </a:cubicBezTo>
                  <a:cubicBezTo>
                    <a:pt x="121913" y="92076"/>
                    <a:pt x="140410" y="78969"/>
                    <a:pt x="148311" y="60289"/>
                  </a:cubicBezTo>
                  <a:lnTo>
                    <a:pt x="148910" y="57324"/>
                  </a:lnTo>
                  <a:lnTo>
                    <a:pt x="152400" y="74613"/>
                  </a:lnTo>
                  <a:cubicBezTo>
                    <a:pt x="152400" y="116697"/>
                    <a:pt x="118284" y="150813"/>
                    <a:pt x="76200" y="150813"/>
                  </a:cubicBezTo>
                  <a:cubicBezTo>
                    <a:pt x="34116" y="150813"/>
                    <a:pt x="0" y="116697"/>
                    <a:pt x="0" y="74613"/>
                  </a:cubicBezTo>
                  <a:cubicBezTo>
                    <a:pt x="0" y="43050"/>
                    <a:pt x="19190" y="15969"/>
                    <a:pt x="46540" y="4401"/>
                  </a:cubicBezTo>
                  <a:lnTo>
                    <a:pt x="68341" y="0"/>
                  </a:lnTo>
                  <a:close/>
                </a:path>
              </a:pathLst>
            </a:custGeom>
            <a:solidFill>
              <a:srgbClr val="00A8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2972008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3745" y="259633"/>
            <a:ext cx="10438551" cy="481681"/>
          </a:xfrm>
        </p:spPr>
        <p:txBody>
          <a:bodyPr>
            <a:normAutofit/>
          </a:bodyPr>
          <a:lstStyle/>
          <a:p>
            <a:r>
              <a:rPr lang="en-US" dirty="0"/>
              <a:t>Quality Management</a:t>
            </a:r>
          </a:p>
        </p:txBody>
      </p:sp>
      <p:sp>
        <p:nvSpPr>
          <p:cNvPr id="386" name="TextBox 385">
            <a:extLst>
              <a:ext uri="{FF2B5EF4-FFF2-40B4-BE49-F238E27FC236}">
                <a16:creationId xmlns:a16="http://schemas.microsoft.com/office/drawing/2014/main" id="{7EF7371E-48F4-44A9-6677-FF1D45CD0621}"/>
              </a:ext>
            </a:extLst>
          </p:cNvPr>
          <p:cNvSpPr txBox="1"/>
          <p:nvPr/>
        </p:nvSpPr>
        <p:spPr>
          <a:xfrm>
            <a:off x="3095415" y="5940797"/>
            <a:ext cx="154863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Nutrition/Transport</a:t>
            </a:r>
          </a:p>
        </p:txBody>
      </p:sp>
      <p:graphicFrame>
        <p:nvGraphicFramePr>
          <p:cNvPr id="5" name="Diagram 4"/>
          <p:cNvGraphicFramePr/>
          <p:nvPr>
            <p:extLst>
              <p:ext uri="{D42A27DB-BD31-4B8C-83A1-F6EECF244321}">
                <p14:modId xmlns:p14="http://schemas.microsoft.com/office/powerpoint/2010/main" val="3820021532"/>
              </p:ext>
            </p:extLst>
          </p:nvPr>
        </p:nvGraphicFramePr>
        <p:xfrm>
          <a:off x="381000" y="1143000"/>
          <a:ext cx="5597518" cy="52448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1" name="Rectangle 60"/>
          <p:cNvSpPr/>
          <p:nvPr/>
        </p:nvSpPr>
        <p:spPr>
          <a:xfrm>
            <a:off x="6334125" y="1066800"/>
            <a:ext cx="5402004" cy="5334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white"/>
                </a:solidFill>
                <a:effectLst/>
                <a:uLnTx/>
                <a:uFillTx/>
                <a:latin typeface="Calibri" panose="020F0502020204030204"/>
                <a:ea typeface="+mn-ea"/>
                <a:cs typeface="+mn-cs"/>
              </a:rPr>
              <a:t>Way forward</a:t>
            </a: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AC6078EE-4C27-B986-6315-0321AA1360E1}"/>
              </a:ext>
            </a:extLst>
          </p:cNvPr>
          <p:cNvSpPr txBox="1"/>
          <p:nvPr/>
        </p:nvSpPr>
        <p:spPr>
          <a:xfrm>
            <a:off x="6334125" y="1797147"/>
            <a:ext cx="5402004" cy="4358116"/>
          </a:xfrm>
          <a:prstGeom prst="rect">
            <a:avLst/>
          </a:prstGeom>
          <a:solidFill>
            <a:schemeClr val="accent6">
              <a:lumMod val="20000"/>
              <a:lumOff val="80000"/>
            </a:schemeClr>
          </a:solidFill>
          <a:ln>
            <a:solidFill>
              <a:schemeClr val="tx1"/>
            </a:solidFill>
          </a:ln>
        </p:spPr>
        <p:txBody>
          <a:bodyPr wrap="square" rtlCol="0">
            <a:spAutoFit/>
          </a:bodyPr>
          <a:lstStyle/>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ZA" sz="1400" b="1" kern="1200" noProof="0" dirty="0">
              <a:solidFill>
                <a:prstClr val="black"/>
              </a:solidFill>
              <a:latin typeface="Century Gothic" panose="020B0502020202020204" pitchFamily="34" charset="0"/>
              <a:ea typeface="+mn-ea"/>
              <a:cs typeface="+mn-cs"/>
            </a:endParaRPr>
          </a:p>
          <a:p>
            <a:pPr marL="265113" lvl="1" indent="-171450" algn="l" rtl="0">
              <a:lnSpc>
                <a:spcPct val="110000"/>
              </a:lnSpc>
              <a:buFont typeface="Arial" panose="020B0604020202020204" pitchFamily="34" charset="0"/>
              <a:buChar char="•"/>
              <a:defRPr/>
            </a:pPr>
            <a:r>
              <a:rPr lang="en-US" sz="1400" b="1" kern="1200" dirty="0">
                <a:solidFill>
                  <a:prstClr val="black"/>
                </a:solidFill>
                <a:latin typeface="Century Gothic" panose="020B0502020202020204" pitchFamily="34" charset="0"/>
              </a:rPr>
              <a:t>Tone of leadership on quality management</a:t>
            </a: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ZA" sz="1400" b="1" kern="1200" noProof="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ZA" sz="1400" b="1" kern="1200" noProof="0" dirty="0">
                <a:solidFill>
                  <a:prstClr val="black"/>
                </a:solidFill>
                <a:latin typeface="Century Gothic" panose="020B0502020202020204" pitchFamily="34" charset="0"/>
                <a:ea typeface="+mn-ea"/>
                <a:cs typeface="+mn-cs"/>
              </a:rPr>
              <a:t>Enhance</a:t>
            </a:r>
            <a:r>
              <a:rPr lang="en-ZA" sz="1400" b="1" kern="1200" dirty="0">
                <a:solidFill>
                  <a:prstClr val="black"/>
                </a:solidFill>
                <a:latin typeface="Century Gothic" panose="020B0502020202020204" pitchFamily="34" charset="0"/>
                <a:ea typeface="+mn-ea"/>
                <a:cs typeface="+mn-cs"/>
              </a:rPr>
              <a:t> existing systems</a:t>
            </a:r>
            <a:endParaRPr kumimoji="0" lang="en-ZA"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ZA" sz="1400" b="1" kern="120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b="1" kern="1200" dirty="0">
                <a:solidFill>
                  <a:prstClr val="black"/>
                </a:solidFill>
                <a:latin typeface="Century Gothic" panose="020B0502020202020204" pitchFamily="34" charset="0"/>
                <a:ea typeface="+mn-ea"/>
                <a:cs typeface="+mn-cs"/>
              </a:rPr>
              <a:t>SAI level support – peer reviews etc.</a:t>
            </a: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400" b="1" kern="120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b="1" kern="1200" dirty="0">
                <a:solidFill>
                  <a:prstClr val="black"/>
                </a:solidFill>
                <a:latin typeface="Century Gothic" panose="020B0502020202020204" pitchFamily="34" charset="0"/>
                <a:ea typeface="+mn-ea"/>
                <a:cs typeface="+mn-cs"/>
              </a:rPr>
              <a:t>Adequate and competent staff to keep up with global developments and professionalisation of the SAIs and staff </a:t>
            </a: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400" b="1" kern="120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b="1" kern="1200" dirty="0">
                <a:solidFill>
                  <a:prstClr val="black"/>
                </a:solidFill>
                <a:latin typeface="Century Gothic" panose="020B0502020202020204" pitchFamily="34" charset="0"/>
                <a:ea typeface="+mn-ea"/>
                <a:cs typeface="+mn-cs"/>
              </a:rPr>
              <a:t>Collaboration with IDI, INTOSAI Regional organisations/INTOSAI SAIs, ACAG and other partners</a:t>
            </a: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400" b="1" kern="1200" dirty="0">
              <a:solidFill>
                <a:prstClr val="black"/>
              </a:solidFill>
              <a:latin typeface="Century Gothic" panose="020B0502020202020204" pitchFamily="34" charset="0"/>
              <a:ea typeface="+mn-ea"/>
              <a:cs typeface="+mn-cs"/>
            </a:endParaRPr>
          </a:p>
          <a:p>
            <a:pPr marL="93663" marR="0" lvl="1" algn="l" defTabSz="914400" rtl="0" eaLnBrk="1" fontAlgn="auto" latinLnBrk="0" hangingPunct="1">
              <a:lnSpc>
                <a:spcPct val="110000"/>
              </a:lnSpc>
              <a:spcBef>
                <a:spcPts val="0"/>
              </a:spcBef>
              <a:spcAft>
                <a:spcPts val="0"/>
              </a:spcAft>
              <a:buClrTx/>
              <a:buSzTx/>
              <a:tabLst/>
              <a:defRPr/>
            </a:pPr>
            <a:endParaRPr lang="en-US" sz="1400" b="1" kern="120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b="1" kern="1200" dirty="0">
                <a:solidFill>
                  <a:prstClr val="black"/>
                </a:solidFill>
                <a:latin typeface="Century Gothic" panose="020B0502020202020204" pitchFamily="34" charset="0"/>
                <a:ea typeface="+mn-ea"/>
                <a:cs typeface="+mn-cs"/>
              </a:rPr>
              <a:t>Continuous  </a:t>
            </a:r>
            <a:r>
              <a:rPr lang="en-US" sz="1400" b="1" kern="1200">
                <a:solidFill>
                  <a:prstClr val="black"/>
                </a:solidFill>
                <a:latin typeface="Century Gothic" panose="020B0502020202020204" pitchFamily="34" charset="0"/>
                <a:ea typeface="+mn-ea"/>
                <a:cs typeface="+mn-cs"/>
              </a:rPr>
              <a:t>robust  </a:t>
            </a:r>
            <a:r>
              <a:rPr lang="en-US" sz="1400" b="1" kern="1200" dirty="0">
                <a:solidFill>
                  <a:prstClr val="black"/>
                </a:solidFill>
                <a:latin typeface="Century Gothic" panose="020B0502020202020204" pitchFamily="34" charset="0"/>
                <a:ea typeface="+mn-ea"/>
                <a:cs typeface="+mn-cs"/>
              </a:rPr>
              <a:t>quality </a:t>
            </a:r>
            <a:r>
              <a:rPr lang="en-US" sz="1400" b="1" kern="1200">
                <a:solidFill>
                  <a:prstClr val="black"/>
                </a:solidFill>
                <a:latin typeface="Century Gothic" panose="020B0502020202020204" pitchFamily="34" charset="0"/>
                <a:ea typeface="+mn-ea"/>
                <a:cs typeface="+mn-cs"/>
              </a:rPr>
              <a:t>management processes</a:t>
            </a:r>
            <a:endParaRPr lang="en-US" sz="1400" kern="120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ZA" sz="1400" kern="1200" dirty="0">
              <a:solidFill>
                <a:prstClr val="black"/>
              </a:solidFill>
              <a:latin typeface="Century Gothic" panose="020B0502020202020204" pitchFamily="34" charset="0"/>
              <a:ea typeface="+mn-ea"/>
              <a:cs typeface="+mn-cs"/>
            </a:endParaRPr>
          </a:p>
          <a:p>
            <a:pPr marL="265113" marR="0" lvl="1"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Z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custDataLst>
      <p:tags r:id="rId1"/>
    </p:custDataLst>
    <p:extLst>
      <p:ext uri="{BB962C8B-B14F-4D97-AF65-F5344CB8AC3E}">
        <p14:creationId xmlns:p14="http://schemas.microsoft.com/office/powerpoint/2010/main" val="230038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3745" y="259633"/>
            <a:ext cx="10438551" cy="481681"/>
          </a:xfrm>
        </p:spPr>
        <p:txBody>
          <a:bodyPr>
            <a:normAutofit/>
          </a:bodyPr>
          <a:lstStyle/>
          <a:p>
            <a:r>
              <a:rPr lang="en-US" dirty="0"/>
              <a:t>Capacitation eco-system</a:t>
            </a:r>
          </a:p>
        </p:txBody>
      </p:sp>
      <p:sp>
        <p:nvSpPr>
          <p:cNvPr id="386" name="TextBox 385">
            <a:extLst>
              <a:ext uri="{FF2B5EF4-FFF2-40B4-BE49-F238E27FC236}">
                <a16:creationId xmlns:a16="http://schemas.microsoft.com/office/drawing/2014/main" id="{7EF7371E-48F4-44A9-6677-FF1D45CD0621}"/>
              </a:ext>
            </a:extLst>
          </p:cNvPr>
          <p:cNvSpPr txBox="1"/>
          <p:nvPr/>
        </p:nvSpPr>
        <p:spPr>
          <a:xfrm>
            <a:off x="3095415" y="5940797"/>
            <a:ext cx="154863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Nutrition/Transport</a:t>
            </a:r>
          </a:p>
        </p:txBody>
      </p:sp>
      <p:sp>
        <p:nvSpPr>
          <p:cNvPr id="10" name="Rectangle 9">
            <a:extLst>
              <a:ext uri="{FF2B5EF4-FFF2-40B4-BE49-F238E27FC236}">
                <a16:creationId xmlns:a16="http://schemas.microsoft.com/office/drawing/2014/main" id="{AB08EA71-6D40-A348-86F0-EE2901EB0E47}"/>
              </a:ext>
            </a:extLst>
          </p:cNvPr>
          <p:cNvSpPr/>
          <p:nvPr/>
        </p:nvSpPr>
        <p:spPr>
          <a:xfrm>
            <a:off x="228600" y="947222"/>
            <a:ext cx="6858000" cy="875334"/>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E3BE51B9-C1E3-E24A-80EB-0C84F977515E}"/>
              </a:ext>
            </a:extLst>
          </p:cNvPr>
          <p:cNvSpPr txBox="1"/>
          <p:nvPr/>
        </p:nvSpPr>
        <p:spPr>
          <a:xfrm>
            <a:off x="388940" y="971772"/>
            <a:ext cx="6961584" cy="830997"/>
          </a:xfrm>
          <a:prstGeom prst="rect">
            <a:avLst/>
          </a:prstGeom>
          <a:noFill/>
        </p:spPr>
        <p:txBody>
          <a:bodyPr wrap="square" rtlCol="0">
            <a:spAutoFit/>
          </a:bodyPr>
          <a:lstStyle/>
          <a:p>
            <a:pPr algn="l"/>
            <a:r>
              <a:rPr lang="en-US" sz="1600" b="1" dirty="0">
                <a:solidFill>
                  <a:srgbClr val="002060"/>
                </a:solidFill>
                <a:latin typeface="Century Gothic" panose="020B0502020202020204" pitchFamily="34" charset="0"/>
                <a:cs typeface="Arial" panose="020B0604020202020204" pitchFamily="34" charset="0"/>
              </a:rPr>
              <a:t>Successful and sustainable quality management process is dependent on adequate capacitation and coordination of critical internal resources and stakeholders </a:t>
            </a:r>
          </a:p>
        </p:txBody>
      </p:sp>
      <p:sp>
        <p:nvSpPr>
          <p:cNvPr id="6" name="Oval 5"/>
          <p:cNvSpPr/>
          <p:nvPr/>
        </p:nvSpPr>
        <p:spPr>
          <a:xfrm>
            <a:off x="6410325" y="2927660"/>
            <a:ext cx="381000" cy="26684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Oval 17"/>
          <p:cNvSpPr/>
          <p:nvPr/>
        </p:nvSpPr>
        <p:spPr>
          <a:xfrm>
            <a:off x="6515101" y="6181752"/>
            <a:ext cx="381000" cy="26684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TextBox 18">
            <a:extLst>
              <a:ext uri="{FF2B5EF4-FFF2-40B4-BE49-F238E27FC236}">
                <a16:creationId xmlns:a16="http://schemas.microsoft.com/office/drawing/2014/main" id="{4834E9FA-DACF-5248-8D6C-E9D457118ECE}"/>
              </a:ext>
            </a:extLst>
          </p:cNvPr>
          <p:cNvSpPr txBox="1"/>
          <p:nvPr/>
        </p:nvSpPr>
        <p:spPr>
          <a:xfrm>
            <a:off x="7821216" y="911947"/>
            <a:ext cx="4269172" cy="923330"/>
          </a:xfrm>
          <a:prstGeom prst="rect">
            <a:avLst/>
          </a:prstGeom>
          <a:noFill/>
          <a:ln>
            <a:solidFill>
              <a:schemeClr val="tx1"/>
            </a:solidFill>
          </a:ln>
        </p:spPr>
        <p:txBody>
          <a:bodyPr wrap="square" rtlCol="0">
            <a:spAutoFit/>
          </a:bodyPr>
          <a:lstStyle/>
          <a:p>
            <a:pPr algn="ctr"/>
            <a:r>
              <a:rPr lang="en-US" sz="2800" dirty="0">
                <a:solidFill>
                  <a:srgbClr val="002060"/>
                </a:solidFill>
                <a:latin typeface="Century Gothic" panose="020B0502020202020204" pitchFamily="34" charset="0"/>
                <a:cs typeface="Arial" panose="020B0604020202020204" pitchFamily="34" charset="0"/>
              </a:rPr>
              <a:t>Our strategic aspiration </a:t>
            </a:r>
            <a:r>
              <a:rPr lang="en-US" sz="1400" dirty="0">
                <a:solidFill>
                  <a:srgbClr val="002060"/>
                </a:solidFill>
                <a:latin typeface="Century Gothic" panose="020B0502020202020204" pitchFamily="34" charset="0"/>
                <a:cs typeface="Arial" panose="020B0604020202020204" pitchFamily="34" charset="0"/>
              </a:rPr>
              <a:t>focusing on strategic goals </a:t>
            </a:r>
          </a:p>
          <a:p>
            <a:pPr algn="ctr"/>
            <a:endParaRPr lang="en-US" sz="1000" dirty="0">
              <a:solidFill>
                <a:srgbClr val="002060"/>
              </a:solidFill>
              <a:latin typeface="Century Gothic" panose="020B0502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AF45BDA3-7D67-04A7-F58F-3599C075FB2D}"/>
              </a:ext>
            </a:extLst>
          </p:cNvPr>
          <p:cNvGrpSpPr/>
          <p:nvPr/>
        </p:nvGrpSpPr>
        <p:grpSpPr>
          <a:xfrm>
            <a:off x="7997089" y="4343400"/>
            <a:ext cx="3128111" cy="2514600"/>
            <a:chOff x="531346" y="3593480"/>
            <a:chExt cx="8137862" cy="8894406"/>
          </a:xfrm>
        </p:grpSpPr>
        <p:sp>
          <p:nvSpPr>
            <p:cNvPr id="20" name="Freeform 2">
              <a:extLst>
                <a:ext uri="{FF2B5EF4-FFF2-40B4-BE49-F238E27FC236}">
                  <a16:creationId xmlns:a16="http://schemas.microsoft.com/office/drawing/2014/main" id="{217FCC7F-53D2-AD23-900D-6240780241C7}"/>
                </a:ext>
              </a:extLst>
            </p:cNvPr>
            <p:cNvSpPr>
              <a:spLocks noChangeArrowheads="1"/>
            </p:cNvSpPr>
            <p:nvPr/>
          </p:nvSpPr>
          <p:spPr bwMode="auto">
            <a:xfrm>
              <a:off x="2310464" y="10853280"/>
              <a:ext cx="6358744" cy="1634606"/>
            </a:xfrm>
            <a:custGeom>
              <a:avLst/>
              <a:gdLst>
                <a:gd name="T0" fmla="*/ 6399 w 6400"/>
                <a:gd name="T1" fmla="*/ 822 h 1645"/>
                <a:gd name="T2" fmla="*/ 6399 w 6400"/>
                <a:gd name="T3" fmla="*/ 822 h 1645"/>
                <a:gd name="T4" fmla="*/ 3199 w 6400"/>
                <a:gd name="T5" fmla="*/ 1644 h 1645"/>
                <a:gd name="T6" fmla="*/ 3199 w 6400"/>
                <a:gd name="T7" fmla="*/ 1644 h 1645"/>
                <a:gd name="T8" fmla="*/ 0 w 6400"/>
                <a:gd name="T9" fmla="*/ 822 h 1645"/>
                <a:gd name="T10" fmla="*/ 0 w 6400"/>
                <a:gd name="T11" fmla="*/ 822 h 1645"/>
                <a:gd name="T12" fmla="*/ 3199 w 6400"/>
                <a:gd name="T13" fmla="*/ 0 h 1645"/>
                <a:gd name="T14" fmla="*/ 3199 w 6400"/>
                <a:gd name="T15" fmla="*/ 0 h 1645"/>
                <a:gd name="T16" fmla="*/ 6399 w 6400"/>
                <a:gd name="T17" fmla="*/ 822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0" h="1645">
                  <a:moveTo>
                    <a:pt x="6399" y="822"/>
                  </a:moveTo>
                  <a:lnTo>
                    <a:pt x="6399" y="822"/>
                  </a:lnTo>
                  <a:cubicBezTo>
                    <a:pt x="6399" y="1275"/>
                    <a:pt x="4966" y="1644"/>
                    <a:pt x="3199" y="1644"/>
                  </a:cubicBezTo>
                  <a:lnTo>
                    <a:pt x="3199" y="1644"/>
                  </a:lnTo>
                  <a:cubicBezTo>
                    <a:pt x="1433" y="1644"/>
                    <a:pt x="0" y="1275"/>
                    <a:pt x="0" y="822"/>
                  </a:cubicBezTo>
                  <a:lnTo>
                    <a:pt x="0" y="822"/>
                  </a:lnTo>
                  <a:cubicBezTo>
                    <a:pt x="0" y="367"/>
                    <a:pt x="1433" y="0"/>
                    <a:pt x="3199" y="0"/>
                  </a:cubicBezTo>
                  <a:lnTo>
                    <a:pt x="3199" y="0"/>
                  </a:lnTo>
                  <a:cubicBezTo>
                    <a:pt x="4966" y="0"/>
                    <a:pt x="6399" y="367"/>
                    <a:pt x="6399" y="822"/>
                  </a:cubicBezTo>
                </a:path>
              </a:pathLst>
            </a:custGeom>
            <a:solidFill>
              <a:schemeClr val="bg1">
                <a:lumMod val="85000"/>
                <a:alpha val="50000"/>
              </a:schemeClr>
            </a:solidFill>
            <a:ln>
              <a:noFill/>
            </a:ln>
            <a:effectLst/>
          </p:spPr>
          <p:txBody>
            <a:bodyPr wrap="none" anchor="ctr"/>
            <a:lstStyle/>
            <a:p>
              <a:endParaRPr lang="en-US" dirty="0">
                <a:latin typeface="Poppins" pitchFamily="2" charset="77"/>
              </a:endParaRPr>
            </a:p>
          </p:txBody>
        </p:sp>
        <p:sp>
          <p:nvSpPr>
            <p:cNvPr id="21" name="Freeform 26">
              <a:extLst>
                <a:ext uri="{FF2B5EF4-FFF2-40B4-BE49-F238E27FC236}">
                  <a16:creationId xmlns:a16="http://schemas.microsoft.com/office/drawing/2014/main" id="{E6927A13-862F-E59E-E2E0-F5066613363F}"/>
                </a:ext>
              </a:extLst>
            </p:cNvPr>
            <p:cNvSpPr>
              <a:spLocks noChangeArrowheads="1"/>
            </p:cNvSpPr>
            <p:nvPr/>
          </p:nvSpPr>
          <p:spPr bwMode="auto">
            <a:xfrm>
              <a:off x="3805837" y="6385806"/>
              <a:ext cx="3313474" cy="5577763"/>
            </a:xfrm>
            <a:custGeom>
              <a:avLst/>
              <a:gdLst>
                <a:gd name="connsiteX0" fmla="*/ 1683339 w 3313474"/>
                <a:gd name="connsiteY0" fmla="*/ 1621974 h 5577763"/>
                <a:gd name="connsiteX1" fmla="*/ 1813807 w 3313474"/>
                <a:gd name="connsiteY1" fmla="*/ 1752865 h 5577763"/>
                <a:gd name="connsiteX2" fmla="*/ 1813807 w 3313474"/>
                <a:gd name="connsiteY2" fmla="*/ 4875742 h 5577763"/>
                <a:gd name="connsiteX3" fmla="*/ 1683339 w 3313474"/>
                <a:gd name="connsiteY3" fmla="*/ 5006633 h 5577763"/>
                <a:gd name="connsiteX4" fmla="*/ 1552870 w 3313474"/>
                <a:gd name="connsiteY4" fmla="*/ 4875742 h 5577763"/>
                <a:gd name="connsiteX5" fmla="*/ 1552870 w 3313474"/>
                <a:gd name="connsiteY5" fmla="*/ 1752865 h 5577763"/>
                <a:gd name="connsiteX6" fmla="*/ 1683339 w 3313474"/>
                <a:gd name="connsiteY6" fmla="*/ 1621974 h 5577763"/>
                <a:gd name="connsiteX7" fmla="*/ 1641078 w 3313474"/>
                <a:gd name="connsiteY7" fmla="*/ 0 h 5577763"/>
                <a:gd name="connsiteX8" fmla="*/ 1656717 w 3313474"/>
                <a:gd name="connsiteY8" fmla="*/ 1270 h 5577763"/>
                <a:gd name="connsiteX9" fmla="*/ 1672589 w 3313474"/>
                <a:gd name="connsiteY9" fmla="*/ 0 h 5577763"/>
                <a:gd name="connsiteX10" fmla="*/ 1683239 w 3313474"/>
                <a:gd name="connsiteY10" fmla="*/ 3422 h 5577763"/>
                <a:gd name="connsiteX11" fmla="*/ 1692469 w 3313474"/>
                <a:gd name="connsiteY11" fmla="*/ 4171 h 5577763"/>
                <a:gd name="connsiteX12" fmla="*/ 1703544 w 3313474"/>
                <a:gd name="connsiteY12" fmla="*/ 9945 h 5577763"/>
                <a:gd name="connsiteX13" fmla="*/ 1720532 w 3313474"/>
                <a:gd name="connsiteY13" fmla="*/ 15403 h 5577763"/>
                <a:gd name="connsiteX14" fmla="*/ 1731302 w 3313474"/>
                <a:gd name="connsiteY14" fmla="*/ 24418 h 5577763"/>
                <a:gd name="connsiteX15" fmla="*/ 1738286 w 3313474"/>
                <a:gd name="connsiteY15" fmla="*/ 28059 h 5577763"/>
                <a:gd name="connsiteX16" fmla="*/ 1744570 w 3313474"/>
                <a:gd name="connsiteY16" fmla="*/ 35524 h 5577763"/>
                <a:gd name="connsiteX17" fmla="*/ 1759060 w 3313474"/>
                <a:gd name="connsiteY17" fmla="*/ 47653 h 5577763"/>
                <a:gd name="connsiteX18" fmla="*/ 1765822 w 3313474"/>
                <a:gd name="connsiteY18" fmla="*/ 60767 h 5577763"/>
                <a:gd name="connsiteX19" fmla="*/ 1770599 w 3313474"/>
                <a:gd name="connsiteY19" fmla="*/ 66441 h 5577763"/>
                <a:gd name="connsiteX20" fmla="*/ 1773903 w 3313474"/>
                <a:gd name="connsiteY20" fmla="*/ 76440 h 5577763"/>
                <a:gd name="connsiteX21" fmla="*/ 1782970 w 3313474"/>
                <a:gd name="connsiteY21" fmla="*/ 94025 h 5577763"/>
                <a:gd name="connsiteX22" fmla="*/ 3307901 w 3313474"/>
                <a:gd name="connsiteY22" fmla="*/ 5411269 h 5577763"/>
                <a:gd name="connsiteX23" fmla="*/ 3218044 w 3313474"/>
                <a:gd name="connsiteY23" fmla="*/ 5572477 h 5577763"/>
                <a:gd name="connsiteX24" fmla="*/ 3182365 w 3313474"/>
                <a:gd name="connsiteY24" fmla="*/ 5577763 h 5577763"/>
                <a:gd name="connsiteX25" fmla="*/ 3056829 w 3313474"/>
                <a:gd name="connsiteY25" fmla="*/ 5482623 h 5577763"/>
                <a:gd name="connsiteX26" fmla="*/ 1657058 w 3313474"/>
                <a:gd name="connsiteY26" fmla="*/ 601797 h 5577763"/>
                <a:gd name="connsiteX27" fmla="*/ 256074 w 3313474"/>
                <a:gd name="connsiteY27" fmla="*/ 5482623 h 5577763"/>
                <a:gd name="connsiteX28" fmla="*/ 130538 w 3313474"/>
                <a:gd name="connsiteY28" fmla="*/ 5577763 h 5577763"/>
                <a:gd name="connsiteX29" fmla="*/ 94859 w 3313474"/>
                <a:gd name="connsiteY29" fmla="*/ 5572477 h 5577763"/>
                <a:gd name="connsiteX30" fmla="*/ 5002 w 3313474"/>
                <a:gd name="connsiteY30" fmla="*/ 5411269 h 5577763"/>
                <a:gd name="connsiteX31" fmla="*/ 1531254 w 3313474"/>
                <a:gd name="connsiteY31" fmla="*/ 94025 h 5577763"/>
                <a:gd name="connsiteX32" fmla="*/ 1540995 w 3313474"/>
                <a:gd name="connsiteY32" fmla="*/ 72579 h 5577763"/>
                <a:gd name="connsiteX33" fmla="*/ 1542965 w 3313474"/>
                <a:gd name="connsiteY33" fmla="*/ 66441 h 5577763"/>
                <a:gd name="connsiteX34" fmla="*/ 1544772 w 3313474"/>
                <a:gd name="connsiteY34" fmla="*/ 64264 h 5577763"/>
                <a:gd name="connsiteX35" fmla="*/ 1547604 w 3313474"/>
                <a:gd name="connsiteY35" fmla="*/ 58029 h 5577763"/>
                <a:gd name="connsiteX36" fmla="*/ 1572856 w 3313474"/>
                <a:gd name="connsiteY36" fmla="*/ 29592 h 5577763"/>
                <a:gd name="connsiteX37" fmla="*/ 1573942 w 3313474"/>
                <a:gd name="connsiteY37" fmla="*/ 29122 h 5577763"/>
                <a:gd name="connsiteX38" fmla="*/ 1574824 w 3313474"/>
                <a:gd name="connsiteY38" fmla="*/ 28059 h 5577763"/>
                <a:gd name="connsiteX39" fmla="*/ 1620434 w 3313474"/>
                <a:gd name="connsiteY39" fmla="*/ 4171 h 5577763"/>
                <a:gd name="connsiteX40" fmla="*/ 1633956 w 3313474"/>
                <a:gd name="connsiteY40" fmla="*/ 3090 h 557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13474" h="5577763">
                  <a:moveTo>
                    <a:pt x="1683339" y="1621974"/>
                  </a:moveTo>
                  <a:cubicBezTo>
                    <a:pt x="1755821" y="1621974"/>
                    <a:pt x="1813807" y="1681470"/>
                    <a:pt x="1813807" y="1752865"/>
                  </a:cubicBezTo>
                  <a:lnTo>
                    <a:pt x="1813807" y="4875742"/>
                  </a:lnTo>
                  <a:cubicBezTo>
                    <a:pt x="1813807" y="4948459"/>
                    <a:pt x="1755821" y="5006633"/>
                    <a:pt x="1683339" y="5006633"/>
                  </a:cubicBezTo>
                  <a:cubicBezTo>
                    <a:pt x="1612174" y="5006633"/>
                    <a:pt x="1552870" y="4948459"/>
                    <a:pt x="1552870" y="4875742"/>
                  </a:cubicBezTo>
                  <a:lnTo>
                    <a:pt x="1552870" y="1752865"/>
                  </a:lnTo>
                  <a:cubicBezTo>
                    <a:pt x="1552870" y="1681470"/>
                    <a:pt x="1612174" y="1621974"/>
                    <a:pt x="1683339" y="1621974"/>
                  </a:cubicBezTo>
                  <a:close/>
                  <a:moveTo>
                    <a:pt x="1641078" y="0"/>
                  </a:moveTo>
                  <a:lnTo>
                    <a:pt x="1656717" y="1270"/>
                  </a:lnTo>
                  <a:lnTo>
                    <a:pt x="1672589" y="0"/>
                  </a:lnTo>
                  <a:lnTo>
                    <a:pt x="1683239" y="3422"/>
                  </a:lnTo>
                  <a:lnTo>
                    <a:pt x="1692469" y="4171"/>
                  </a:lnTo>
                  <a:lnTo>
                    <a:pt x="1703544" y="9945"/>
                  </a:lnTo>
                  <a:lnTo>
                    <a:pt x="1720532" y="15403"/>
                  </a:lnTo>
                  <a:lnTo>
                    <a:pt x="1731302" y="24418"/>
                  </a:lnTo>
                  <a:lnTo>
                    <a:pt x="1738286" y="28059"/>
                  </a:lnTo>
                  <a:lnTo>
                    <a:pt x="1744570" y="35524"/>
                  </a:lnTo>
                  <a:lnTo>
                    <a:pt x="1759060" y="47653"/>
                  </a:lnTo>
                  <a:lnTo>
                    <a:pt x="1765822" y="60767"/>
                  </a:lnTo>
                  <a:lnTo>
                    <a:pt x="1770599" y="66441"/>
                  </a:lnTo>
                  <a:lnTo>
                    <a:pt x="1773903" y="76440"/>
                  </a:lnTo>
                  <a:lnTo>
                    <a:pt x="1782970" y="94025"/>
                  </a:lnTo>
                  <a:lnTo>
                    <a:pt x="3307901" y="5411269"/>
                  </a:lnTo>
                  <a:cubicBezTo>
                    <a:pt x="3329044" y="5478659"/>
                    <a:pt x="3288079" y="5552657"/>
                    <a:pt x="3218044" y="5572477"/>
                  </a:cubicBezTo>
                  <a:cubicBezTo>
                    <a:pt x="3206151" y="5575120"/>
                    <a:pt x="3194258" y="5577763"/>
                    <a:pt x="3182365" y="5577763"/>
                  </a:cubicBezTo>
                  <a:cubicBezTo>
                    <a:pt x="3125543" y="5577763"/>
                    <a:pt x="3072686" y="5539443"/>
                    <a:pt x="3056829" y="5482623"/>
                  </a:cubicBezTo>
                  <a:lnTo>
                    <a:pt x="1657058" y="601797"/>
                  </a:lnTo>
                  <a:lnTo>
                    <a:pt x="256074" y="5482623"/>
                  </a:lnTo>
                  <a:cubicBezTo>
                    <a:pt x="240216" y="5539443"/>
                    <a:pt x="187359" y="5577763"/>
                    <a:pt x="130538" y="5577763"/>
                  </a:cubicBezTo>
                  <a:cubicBezTo>
                    <a:pt x="118645" y="5577763"/>
                    <a:pt x="106752" y="5575120"/>
                    <a:pt x="94859" y="5572477"/>
                  </a:cubicBezTo>
                  <a:cubicBezTo>
                    <a:pt x="26145" y="5552657"/>
                    <a:pt x="-14820" y="5478659"/>
                    <a:pt x="5002" y="5411269"/>
                  </a:cubicBezTo>
                  <a:lnTo>
                    <a:pt x="1531254" y="94025"/>
                  </a:lnTo>
                  <a:lnTo>
                    <a:pt x="1540995" y="72579"/>
                  </a:lnTo>
                  <a:lnTo>
                    <a:pt x="1542965" y="66441"/>
                  </a:lnTo>
                  <a:lnTo>
                    <a:pt x="1544772" y="64264"/>
                  </a:lnTo>
                  <a:lnTo>
                    <a:pt x="1547604" y="58029"/>
                  </a:lnTo>
                  <a:cubicBezTo>
                    <a:pt x="1554663" y="47226"/>
                    <a:pt x="1563205" y="37683"/>
                    <a:pt x="1572856" y="29592"/>
                  </a:cubicBezTo>
                  <a:lnTo>
                    <a:pt x="1573942" y="29122"/>
                  </a:lnTo>
                  <a:lnTo>
                    <a:pt x="1574824" y="28059"/>
                  </a:lnTo>
                  <a:cubicBezTo>
                    <a:pt x="1587894" y="17385"/>
                    <a:pt x="1603255" y="9126"/>
                    <a:pt x="1620434" y="4171"/>
                  </a:cubicBezTo>
                  <a:lnTo>
                    <a:pt x="1633956" y="3090"/>
                  </a:lnTo>
                  <a:close/>
                </a:path>
              </a:pathLst>
            </a:custGeom>
            <a:solidFill>
              <a:srgbClr val="000000"/>
            </a:solidFill>
            <a:ln>
              <a:noFill/>
            </a:ln>
            <a:effectLst/>
          </p:spPr>
          <p:txBody>
            <a:bodyPr wrap="square" anchor="ctr">
              <a:noAutofit/>
            </a:bodyPr>
            <a:lstStyle/>
            <a:p>
              <a:endParaRPr lang="en-US" dirty="0">
                <a:latin typeface="Poppins" pitchFamily="2" charset="77"/>
              </a:endParaRPr>
            </a:p>
          </p:txBody>
        </p:sp>
        <p:sp>
          <p:nvSpPr>
            <p:cNvPr id="22" name="Freeform 27">
              <a:extLst>
                <a:ext uri="{FF2B5EF4-FFF2-40B4-BE49-F238E27FC236}">
                  <a16:creationId xmlns:a16="http://schemas.microsoft.com/office/drawing/2014/main" id="{6BB7ED54-EA7C-7E2D-F1F8-E81C0A3B2EAF}"/>
                </a:ext>
              </a:extLst>
            </p:cNvPr>
            <p:cNvSpPr>
              <a:spLocks noChangeArrowheads="1"/>
            </p:cNvSpPr>
            <p:nvPr/>
          </p:nvSpPr>
          <p:spPr bwMode="auto">
            <a:xfrm>
              <a:off x="2980949" y="3593480"/>
              <a:ext cx="4708897" cy="5830467"/>
            </a:xfrm>
            <a:prstGeom prst="ellipse">
              <a:avLst/>
            </a:prstGeom>
            <a:solidFill>
              <a:schemeClr val="bg1"/>
            </a:solidFill>
            <a:ln>
              <a:noFill/>
            </a:ln>
            <a:effectLst/>
          </p:spPr>
          <p:txBody>
            <a:bodyPr wrap="none" anchor="ctr"/>
            <a:lstStyle/>
            <a:p>
              <a:endParaRPr lang="en-US" dirty="0">
                <a:latin typeface="Poppins" pitchFamily="2" charset="77"/>
              </a:endParaRPr>
            </a:p>
          </p:txBody>
        </p:sp>
        <p:sp>
          <p:nvSpPr>
            <p:cNvPr id="23" name="Freeform 28">
              <a:extLst>
                <a:ext uri="{FF2B5EF4-FFF2-40B4-BE49-F238E27FC236}">
                  <a16:creationId xmlns:a16="http://schemas.microsoft.com/office/drawing/2014/main" id="{AF0CE19E-6127-2542-46CD-9A31DDACD0E2}"/>
                </a:ext>
              </a:extLst>
            </p:cNvPr>
            <p:cNvSpPr>
              <a:spLocks noChangeArrowheads="1"/>
            </p:cNvSpPr>
            <p:nvPr/>
          </p:nvSpPr>
          <p:spPr bwMode="auto">
            <a:xfrm>
              <a:off x="2986778" y="3600006"/>
              <a:ext cx="4690096" cy="5830467"/>
            </a:xfrm>
            <a:custGeom>
              <a:avLst/>
              <a:gdLst>
                <a:gd name="connsiteX0" fmla="*/ 2376690 w 4420656"/>
                <a:gd name="connsiteY0" fmla="*/ 1834736 h 5495514"/>
                <a:gd name="connsiteX1" fmla="*/ 2659311 w 4420656"/>
                <a:gd name="connsiteY1" fmla="*/ 1914450 h 5495514"/>
                <a:gd name="connsiteX2" fmla="*/ 2822409 w 4420656"/>
                <a:gd name="connsiteY2" fmla="*/ 2040250 h 5495514"/>
                <a:gd name="connsiteX3" fmla="*/ 2885906 w 4420656"/>
                <a:gd name="connsiteY3" fmla="*/ 2113736 h 5495514"/>
                <a:gd name="connsiteX4" fmla="*/ 3037799 w 4420656"/>
                <a:gd name="connsiteY4" fmla="*/ 2400210 h 5495514"/>
                <a:gd name="connsiteX5" fmla="*/ 3091335 w 4420656"/>
                <a:gd name="connsiteY5" fmla="*/ 2747715 h 5495514"/>
                <a:gd name="connsiteX6" fmla="*/ 3037799 w 4420656"/>
                <a:gd name="connsiteY6" fmla="*/ 3095220 h 5495514"/>
                <a:gd name="connsiteX7" fmla="*/ 2885906 w 4420656"/>
                <a:gd name="connsiteY7" fmla="*/ 3382939 h 5495514"/>
                <a:gd name="connsiteX8" fmla="*/ 2659311 w 4420656"/>
                <a:gd name="connsiteY8" fmla="*/ 3582225 h 5495514"/>
                <a:gd name="connsiteX9" fmla="*/ 2376690 w 4420656"/>
                <a:gd name="connsiteY9" fmla="*/ 3660694 h 5495514"/>
                <a:gd name="connsiteX10" fmla="*/ 2089088 w 4420656"/>
                <a:gd name="connsiteY10" fmla="*/ 3597172 h 5495514"/>
                <a:gd name="connsiteX11" fmla="*/ 1903579 w 4420656"/>
                <a:gd name="connsiteY11" fmla="*/ 3463899 h 5495514"/>
                <a:gd name="connsiteX12" fmla="*/ 1888639 w 4420656"/>
                <a:gd name="connsiteY12" fmla="*/ 3447707 h 5495514"/>
                <a:gd name="connsiteX13" fmla="*/ 1851288 w 4420656"/>
                <a:gd name="connsiteY13" fmla="*/ 3407850 h 5495514"/>
                <a:gd name="connsiteX14" fmla="*/ 1850043 w 4420656"/>
                <a:gd name="connsiteY14" fmla="*/ 3404113 h 5495514"/>
                <a:gd name="connsiteX15" fmla="*/ 1762891 w 4420656"/>
                <a:gd name="connsiteY15" fmla="*/ 3279560 h 5495514"/>
                <a:gd name="connsiteX16" fmla="*/ 1751686 w 4420656"/>
                <a:gd name="connsiteY16" fmla="*/ 3258385 h 5495514"/>
                <a:gd name="connsiteX17" fmla="*/ 1741726 w 4420656"/>
                <a:gd name="connsiteY17" fmla="*/ 3240948 h 5495514"/>
                <a:gd name="connsiteX18" fmla="*/ 1731766 w 4420656"/>
                <a:gd name="connsiteY18" fmla="*/ 3222265 h 5495514"/>
                <a:gd name="connsiteX19" fmla="*/ 1710600 w 4420656"/>
                <a:gd name="connsiteY19" fmla="*/ 3172443 h 5495514"/>
                <a:gd name="connsiteX20" fmla="*/ 1686945 w 4420656"/>
                <a:gd name="connsiteY20" fmla="*/ 3111412 h 5495514"/>
                <a:gd name="connsiteX21" fmla="*/ 1667024 w 4420656"/>
                <a:gd name="connsiteY21" fmla="*/ 3047889 h 5495514"/>
                <a:gd name="connsiteX22" fmla="*/ 1657064 w 4420656"/>
                <a:gd name="connsiteY22" fmla="*/ 3009278 h 5495514"/>
                <a:gd name="connsiteX23" fmla="*/ 1653329 w 4420656"/>
                <a:gd name="connsiteY23" fmla="*/ 2999314 h 5495514"/>
                <a:gd name="connsiteX24" fmla="*/ 1625938 w 4420656"/>
                <a:gd name="connsiteY24" fmla="*/ 2747715 h 5495514"/>
                <a:gd name="connsiteX25" fmla="*/ 1667024 w 4420656"/>
                <a:gd name="connsiteY25" fmla="*/ 2448786 h 5495514"/>
                <a:gd name="connsiteX26" fmla="*/ 1686945 w 4420656"/>
                <a:gd name="connsiteY26" fmla="*/ 2384018 h 5495514"/>
                <a:gd name="connsiteX27" fmla="*/ 1710600 w 4420656"/>
                <a:gd name="connsiteY27" fmla="*/ 2322987 h 5495514"/>
                <a:gd name="connsiteX28" fmla="*/ 1850043 w 4420656"/>
                <a:gd name="connsiteY28" fmla="*/ 2090071 h 5495514"/>
                <a:gd name="connsiteX29" fmla="*/ 2089088 w 4420656"/>
                <a:gd name="connsiteY29" fmla="*/ 1898258 h 5495514"/>
                <a:gd name="connsiteX30" fmla="*/ 2376690 w 4420656"/>
                <a:gd name="connsiteY30" fmla="*/ 1834736 h 5495514"/>
                <a:gd name="connsiteX31" fmla="*/ 2375900 w 4420656"/>
                <a:gd name="connsiteY31" fmla="*/ 1376778 h 5495514"/>
                <a:gd name="connsiteX32" fmla="*/ 1942739 w 4420656"/>
                <a:gd name="connsiteY32" fmla="*/ 1466512 h 5495514"/>
                <a:gd name="connsiteX33" fmla="*/ 1578037 w 4420656"/>
                <a:gd name="connsiteY33" fmla="*/ 1751916 h 5495514"/>
                <a:gd name="connsiteX34" fmla="*/ 1327848 w 4420656"/>
                <a:gd name="connsiteY34" fmla="*/ 2194355 h 5495514"/>
                <a:gd name="connsiteX35" fmla="*/ 1234495 w 4420656"/>
                <a:gd name="connsiteY35" fmla="*/ 2747715 h 5495514"/>
                <a:gd name="connsiteX36" fmla="*/ 1327848 w 4420656"/>
                <a:gd name="connsiteY36" fmla="*/ 3299828 h 5495514"/>
                <a:gd name="connsiteX37" fmla="*/ 1578037 w 4420656"/>
                <a:gd name="connsiteY37" fmla="*/ 3743513 h 5495514"/>
                <a:gd name="connsiteX38" fmla="*/ 1942739 w 4420656"/>
                <a:gd name="connsiteY38" fmla="*/ 4027671 h 5495514"/>
                <a:gd name="connsiteX39" fmla="*/ 2375900 w 4420656"/>
                <a:gd name="connsiteY39" fmla="*/ 4117405 h 5495514"/>
                <a:gd name="connsiteX40" fmla="*/ 2797860 w 4420656"/>
                <a:gd name="connsiteY40" fmla="*/ 3991528 h 5495514"/>
                <a:gd name="connsiteX41" fmla="*/ 3133933 w 4420656"/>
                <a:gd name="connsiteY41" fmla="*/ 3692414 h 5495514"/>
                <a:gd name="connsiteX42" fmla="*/ 3355493 w 4420656"/>
                <a:gd name="connsiteY42" fmla="*/ 3263685 h 5495514"/>
                <a:gd name="connsiteX43" fmla="*/ 3436400 w 4420656"/>
                <a:gd name="connsiteY43" fmla="*/ 2747715 h 5495514"/>
                <a:gd name="connsiteX44" fmla="*/ 3355493 w 4420656"/>
                <a:gd name="connsiteY44" fmla="*/ 2231744 h 5495514"/>
                <a:gd name="connsiteX45" fmla="*/ 3133933 w 4420656"/>
                <a:gd name="connsiteY45" fmla="*/ 1803015 h 5495514"/>
                <a:gd name="connsiteX46" fmla="*/ 2797860 w 4420656"/>
                <a:gd name="connsiteY46" fmla="*/ 1502655 h 5495514"/>
                <a:gd name="connsiteX47" fmla="*/ 2375900 w 4420656"/>
                <a:gd name="connsiteY47" fmla="*/ 1376778 h 5495514"/>
                <a:gd name="connsiteX48" fmla="*/ 2375900 w 4420656"/>
                <a:gd name="connsiteY48" fmla="*/ 919384 h 5495514"/>
                <a:gd name="connsiteX49" fmla="*/ 2936023 w 4420656"/>
                <a:gd name="connsiteY49" fmla="*/ 1095113 h 5495514"/>
                <a:gd name="connsiteX50" fmla="*/ 3376653 w 4420656"/>
                <a:gd name="connsiteY50" fmla="*/ 1498916 h 5495514"/>
                <a:gd name="connsiteX51" fmla="*/ 3667917 w 4420656"/>
                <a:gd name="connsiteY51" fmla="*/ 2067232 h 5495514"/>
                <a:gd name="connsiteX52" fmla="*/ 3772473 w 4420656"/>
                <a:gd name="connsiteY52" fmla="*/ 2747715 h 5495514"/>
                <a:gd name="connsiteX53" fmla="*/ 3667917 w 4420656"/>
                <a:gd name="connsiteY53" fmla="*/ 3428197 h 5495514"/>
                <a:gd name="connsiteX54" fmla="*/ 3376653 w 4420656"/>
                <a:gd name="connsiteY54" fmla="*/ 3995267 h 5495514"/>
                <a:gd name="connsiteX55" fmla="*/ 2936023 w 4420656"/>
                <a:gd name="connsiteY55" fmla="*/ 4399070 h 5495514"/>
                <a:gd name="connsiteX56" fmla="*/ 2375900 w 4420656"/>
                <a:gd name="connsiteY56" fmla="*/ 4573552 h 5495514"/>
                <a:gd name="connsiteX57" fmla="*/ 1794617 w 4420656"/>
                <a:gd name="connsiteY57" fmla="*/ 4463878 h 5495514"/>
                <a:gd name="connsiteX58" fmla="*/ 1302954 w 4420656"/>
                <a:gd name="connsiteY58" fmla="*/ 4085001 h 5495514"/>
                <a:gd name="connsiteX59" fmla="*/ 961901 w 4420656"/>
                <a:gd name="connsiteY59" fmla="*/ 3493005 h 5495514"/>
                <a:gd name="connsiteX60" fmla="*/ 834940 w 4420656"/>
                <a:gd name="connsiteY60" fmla="*/ 2747715 h 5495514"/>
                <a:gd name="connsiteX61" fmla="*/ 961901 w 4420656"/>
                <a:gd name="connsiteY61" fmla="*/ 2002424 h 5495514"/>
                <a:gd name="connsiteX62" fmla="*/ 1302954 w 4420656"/>
                <a:gd name="connsiteY62" fmla="*/ 1407936 h 5495514"/>
                <a:gd name="connsiteX63" fmla="*/ 1794617 w 4420656"/>
                <a:gd name="connsiteY63" fmla="*/ 1030305 h 5495514"/>
                <a:gd name="connsiteX64" fmla="*/ 2375900 w 4420656"/>
                <a:gd name="connsiteY64" fmla="*/ 919384 h 5495514"/>
                <a:gd name="connsiteX65" fmla="*/ 2183174 w 4420656"/>
                <a:gd name="connsiteY65" fmla="*/ 461240 h 5495514"/>
                <a:gd name="connsiteX66" fmla="*/ 1643274 w 4420656"/>
                <a:gd name="connsiteY66" fmla="*/ 591597 h 5495514"/>
                <a:gd name="connsiteX67" fmla="*/ 1019577 w 4420656"/>
                <a:gd name="connsiteY67" fmla="*/ 1060074 h 5495514"/>
                <a:gd name="connsiteX68" fmla="*/ 583860 w 4420656"/>
                <a:gd name="connsiteY68" fmla="*/ 1805150 h 5495514"/>
                <a:gd name="connsiteX69" fmla="*/ 422023 w 4420656"/>
                <a:gd name="connsiteY69" fmla="*/ 2748332 h 5495514"/>
                <a:gd name="connsiteX70" fmla="*/ 583860 w 4420656"/>
                <a:gd name="connsiteY70" fmla="*/ 3690268 h 5495514"/>
                <a:gd name="connsiteX71" fmla="*/ 1019577 w 4420656"/>
                <a:gd name="connsiteY71" fmla="*/ 4435345 h 5495514"/>
                <a:gd name="connsiteX72" fmla="*/ 1643274 w 4420656"/>
                <a:gd name="connsiteY72" fmla="*/ 4903821 h 5495514"/>
                <a:gd name="connsiteX73" fmla="*/ 2372788 w 4420656"/>
                <a:gd name="connsiteY73" fmla="*/ 5030908 h 5495514"/>
                <a:gd name="connsiteX74" fmla="*/ 3069935 w 4420656"/>
                <a:gd name="connsiteY74" fmla="*/ 4802899 h 5495514"/>
                <a:gd name="connsiteX75" fmla="*/ 3613958 w 4420656"/>
                <a:gd name="connsiteY75" fmla="*/ 4295799 h 5495514"/>
                <a:gd name="connsiteX76" fmla="*/ 3970001 w 4420656"/>
                <a:gd name="connsiteY76" fmla="*/ 3589347 h 5495514"/>
                <a:gd name="connsiteX77" fmla="*/ 4099471 w 4420656"/>
                <a:gd name="connsiteY77" fmla="*/ 2748332 h 5495514"/>
                <a:gd name="connsiteX78" fmla="*/ 3970001 w 4420656"/>
                <a:gd name="connsiteY78" fmla="*/ 1907318 h 5495514"/>
                <a:gd name="connsiteX79" fmla="*/ 3613958 w 4420656"/>
                <a:gd name="connsiteY79" fmla="*/ 1200866 h 5495514"/>
                <a:gd name="connsiteX80" fmla="*/ 3069935 w 4420656"/>
                <a:gd name="connsiteY80" fmla="*/ 692519 h 5495514"/>
                <a:gd name="connsiteX81" fmla="*/ 2372788 w 4420656"/>
                <a:gd name="connsiteY81" fmla="*/ 463265 h 5495514"/>
                <a:gd name="connsiteX82" fmla="*/ 2183174 w 4420656"/>
                <a:gd name="connsiteY82" fmla="*/ 461240 h 5495514"/>
                <a:gd name="connsiteX83" fmla="*/ 2144932 w 4420656"/>
                <a:gd name="connsiteY83" fmla="*/ 1213 h 5495514"/>
                <a:gd name="connsiteX84" fmla="*/ 2372788 w 4420656"/>
                <a:gd name="connsiteY84" fmla="*/ 7248 h 5495514"/>
                <a:gd name="connsiteX85" fmla="*/ 3204384 w 4420656"/>
                <a:gd name="connsiteY85" fmla="*/ 292570 h 5495514"/>
                <a:gd name="connsiteX86" fmla="*/ 3850490 w 4420656"/>
                <a:gd name="connsiteY86" fmla="*/ 906822 h 5495514"/>
                <a:gd name="connsiteX87" fmla="*/ 4270022 w 4420656"/>
                <a:gd name="connsiteY87" fmla="*/ 1749082 h 5495514"/>
                <a:gd name="connsiteX88" fmla="*/ 4420656 w 4420656"/>
                <a:gd name="connsiteY88" fmla="*/ 2748332 h 5495514"/>
                <a:gd name="connsiteX89" fmla="*/ 4270022 w 4420656"/>
                <a:gd name="connsiteY89" fmla="*/ 3747582 h 5495514"/>
                <a:gd name="connsiteX90" fmla="*/ 3850490 w 4420656"/>
                <a:gd name="connsiteY90" fmla="*/ 4589842 h 5495514"/>
                <a:gd name="connsiteX91" fmla="*/ 3204384 w 4420656"/>
                <a:gd name="connsiteY91" fmla="*/ 5201603 h 5495514"/>
                <a:gd name="connsiteX92" fmla="*/ 2372788 w 4420656"/>
                <a:gd name="connsiteY92" fmla="*/ 5488170 h 5495514"/>
                <a:gd name="connsiteX93" fmla="*/ 1492641 w 4420656"/>
                <a:gd name="connsiteY93" fmla="*/ 5347378 h 5495514"/>
                <a:gd name="connsiteX94" fmla="*/ 733249 w 4420656"/>
                <a:gd name="connsiteY94" fmla="*/ 4791686 h 5495514"/>
                <a:gd name="connsiteX95" fmla="*/ 200430 w 4420656"/>
                <a:gd name="connsiteY95" fmla="*/ 3892112 h 5495514"/>
                <a:gd name="connsiteX96" fmla="*/ 0 w 4420656"/>
                <a:gd name="connsiteY96" fmla="*/ 2748332 h 5495514"/>
                <a:gd name="connsiteX97" fmla="*/ 200430 w 4420656"/>
                <a:gd name="connsiteY97" fmla="*/ 1603307 h 5495514"/>
                <a:gd name="connsiteX98" fmla="*/ 733249 w 4420656"/>
                <a:gd name="connsiteY98" fmla="*/ 703733 h 5495514"/>
                <a:gd name="connsiteX99" fmla="*/ 1492641 w 4420656"/>
                <a:gd name="connsiteY99" fmla="*/ 148040 h 5495514"/>
                <a:gd name="connsiteX100" fmla="*/ 2144932 w 4420656"/>
                <a:gd name="connsiteY100" fmla="*/ 1213 h 54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420656" h="5495514">
                  <a:moveTo>
                    <a:pt x="2376690" y="1834736"/>
                  </a:moveTo>
                  <a:cubicBezTo>
                    <a:pt x="2477537" y="1837227"/>
                    <a:pt x="2573404" y="1865874"/>
                    <a:pt x="2659311" y="1914450"/>
                  </a:cubicBezTo>
                  <a:cubicBezTo>
                    <a:pt x="2719072" y="1946834"/>
                    <a:pt x="2772608" y="1989183"/>
                    <a:pt x="2822409" y="2040250"/>
                  </a:cubicBezTo>
                  <a:cubicBezTo>
                    <a:pt x="2844820" y="2062669"/>
                    <a:pt x="2867230" y="2087580"/>
                    <a:pt x="2885906" y="2113736"/>
                  </a:cubicBezTo>
                  <a:cubicBezTo>
                    <a:pt x="2950647" y="2194696"/>
                    <a:pt x="3001693" y="2293094"/>
                    <a:pt x="3037799" y="2400210"/>
                  </a:cubicBezTo>
                  <a:cubicBezTo>
                    <a:pt x="3072660" y="2507326"/>
                    <a:pt x="3091335" y="2624407"/>
                    <a:pt x="3091335" y="2747715"/>
                  </a:cubicBezTo>
                  <a:cubicBezTo>
                    <a:pt x="3091335" y="2871023"/>
                    <a:pt x="3072660" y="2988104"/>
                    <a:pt x="3037799" y="3095220"/>
                  </a:cubicBezTo>
                  <a:cubicBezTo>
                    <a:pt x="3001693" y="3203582"/>
                    <a:pt x="2950647" y="3299488"/>
                    <a:pt x="2885906" y="3382939"/>
                  </a:cubicBezTo>
                  <a:cubicBezTo>
                    <a:pt x="2822409" y="3465145"/>
                    <a:pt x="2745218" y="3532404"/>
                    <a:pt x="2659311" y="3582225"/>
                  </a:cubicBezTo>
                  <a:cubicBezTo>
                    <a:pt x="2573404" y="3629556"/>
                    <a:pt x="2477537" y="3658203"/>
                    <a:pt x="2376690" y="3660694"/>
                  </a:cubicBezTo>
                  <a:cubicBezTo>
                    <a:pt x="2275842" y="3664431"/>
                    <a:pt x="2178730" y="3640765"/>
                    <a:pt x="2089088" y="3597172"/>
                  </a:cubicBezTo>
                  <a:cubicBezTo>
                    <a:pt x="2021857" y="3563542"/>
                    <a:pt x="1959606" y="3518703"/>
                    <a:pt x="1903579" y="3463899"/>
                  </a:cubicBezTo>
                  <a:cubicBezTo>
                    <a:pt x="1898599" y="3458917"/>
                    <a:pt x="1893619" y="3453935"/>
                    <a:pt x="1888639" y="3447707"/>
                  </a:cubicBezTo>
                  <a:cubicBezTo>
                    <a:pt x="1876189" y="3435252"/>
                    <a:pt x="1863738" y="3421551"/>
                    <a:pt x="1851288" y="3407850"/>
                  </a:cubicBezTo>
                  <a:cubicBezTo>
                    <a:pt x="1851288" y="3406604"/>
                    <a:pt x="1850043" y="3405359"/>
                    <a:pt x="1850043" y="3404113"/>
                  </a:cubicBezTo>
                  <a:cubicBezTo>
                    <a:pt x="1817672" y="3366747"/>
                    <a:pt x="1789037" y="3324399"/>
                    <a:pt x="1762891" y="3279560"/>
                  </a:cubicBezTo>
                  <a:cubicBezTo>
                    <a:pt x="1759156" y="3272086"/>
                    <a:pt x="1755421" y="3265859"/>
                    <a:pt x="1751686" y="3258385"/>
                  </a:cubicBezTo>
                  <a:cubicBezTo>
                    <a:pt x="1747951" y="3253403"/>
                    <a:pt x="1745461" y="3247176"/>
                    <a:pt x="1741726" y="3240948"/>
                  </a:cubicBezTo>
                  <a:cubicBezTo>
                    <a:pt x="1739236" y="3234720"/>
                    <a:pt x="1735501" y="3228492"/>
                    <a:pt x="1731766" y="3222265"/>
                  </a:cubicBezTo>
                  <a:cubicBezTo>
                    <a:pt x="1724295" y="3206073"/>
                    <a:pt x="1716825" y="3188635"/>
                    <a:pt x="1710600" y="3172443"/>
                  </a:cubicBezTo>
                  <a:cubicBezTo>
                    <a:pt x="1701885" y="3152515"/>
                    <a:pt x="1693170" y="3132586"/>
                    <a:pt x="1686945" y="3111412"/>
                  </a:cubicBezTo>
                  <a:cubicBezTo>
                    <a:pt x="1678229" y="3090238"/>
                    <a:pt x="1673249" y="3069064"/>
                    <a:pt x="1667024" y="3047889"/>
                  </a:cubicBezTo>
                  <a:cubicBezTo>
                    <a:pt x="1663289" y="3034189"/>
                    <a:pt x="1659554" y="3021733"/>
                    <a:pt x="1657064" y="3009278"/>
                  </a:cubicBezTo>
                  <a:cubicBezTo>
                    <a:pt x="1655819" y="3005541"/>
                    <a:pt x="1654574" y="3001805"/>
                    <a:pt x="1653329" y="2999314"/>
                  </a:cubicBezTo>
                  <a:cubicBezTo>
                    <a:pt x="1635898" y="2918354"/>
                    <a:pt x="1625938" y="2834903"/>
                    <a:pt x="1625938" y="2747715"/>
                  </a:cubicBezTo>
                  <a:cubicBezTo>
                    <a:pt x="1625938" y="2643090"/>
                    <a:pt x="1639634" y="2542201"/>
                    <a:pt x="1667024" y="2448786"/>
                  </a:cubicBezTo>
                  <a:cubicBezTo>
                    <a:pt x="1673249" y="2426366"/>
                    <a:pt x="1678229" y="2405192"/>
                    <a:pt x="1686945" y="2384018"/>
                  </a:cubicBezTo>
                  <a:cubicBezTo>
                    <a:pt x="1693170" y="2362844"/>
                    <a:pt x="1701885" y="2342915"/>
                    <a:pt x="1710600" y="2322987"/>
                  </a:cubicBezTo>
                  <a:cubicBezTo>
                    <a:pt x="1746706" y="2235799"/>
                    <a:pt x="1794017" y="2157330"/>
                    <a:pt x="1850043" y="2090071"/>
                  </a:cubicBezTo>
                  <a:cubicBezTo>
                    <a:pt x="1918520" y="2007866"/>
                    <a:pt x="1999446" y="1941852"/>
                    <a:pt x="2089088" y="1898258"/>
                  </a:cubicBezTo>
                  <a:cubicBezTo>
                    <a:pt x="2178730" y="1854664"/>
                    <a:pt x="2275842" y="1830999"/>
                    <a:pt x="2376690" y="1834736"/>
                  </a:cubicBezTo>
                  <a:close/>
                  <a:moveTo>
                    <a:pt x="2375900" y="1376778"/>
                  </a:moveTo>
                  <a:cubicBezTo>
                    <a:pt x="2224045" y="1369300"/>
                    <a:pt x="2077168" y="1401704"/>
                    <a:pt x="1942739" y="1466512"/>
                  </a:cubicBezTo>
                  <a:cubicBezTo>
                    <a:pt x="1805820" y="1531320"/>
                    <a:pt x="1682593" y="1628532"/>
                    <a:pt x="1578037" y="1751916"/>
                  </a:cubicBezTo>
                  <a:cubicBezTo>
                    <a:pt x="1473480" y="1876547"/>
                    <a:pt x="1387595" y="2027350"/>
                    <a:pt x="1327848" y="2194355"/>
                  </a:cubicBezTo>
                  <a:cubicBezTo>
                    <a:pt x="1268102" y="2363852"/>
                    <a:pt x="1234495" y="2550798"/>
                    <a:pt x="1234495" y="2747715"/>
                  </a:cubicBezTo>
                  <a:cubicBezTo>
                    <a:pt x="1234495" y="2944631"/>
                    <a:pt x="1268102" y="3130330"/>
                    <a:pt x="1327848" y="3299828"/>
                  </a:cubicBezTo>
                  <a:cubicBezTo>
                    <a:pt x="1387595" y="3468079"/>
                    <a:pt x="1473480" y="3618882"/>
                    <a:pt x="1578037" y="3743513"/>
                  </a:cubicBezTo>
                  <a:cubicBezTo>
                    <a:pt x="1682593" y="3865651"/>
                    <a:pt x="1805820" y="3962863"/>
                    <a:pt x="1942739" y="4027671"/>
                  </a:cubicBezTo>
                  <a:cubicBezTo>
                    <a:pt x="2077168" y="4092478"/>
                    <a:pt x="2224045" y="4124882"/>
                    <a:pt x="2375900" y="4117405"/>
                  </a:cubicBezTo>
                  <a:cubicBezTo>
                    <a:pt x="2526511" y="4111173"/>
                    <a:pt x="2669654" y="4066306"/>
                    <a:pt x="2797860" y="3991528"/>
                  </a:cubicBezTo>
                  <a:cubicBezTo>
                    <a:pt x="2924821" y="3917996"/>
                    <a:pt x="3038090" y="3815799"/>
                    <a:pt x="3133933" y="3692414"/>
                  </a:cubicBezTo>
                  <a:cubicBezTo>
                    <a:pt x="3227287" y="3569030"/>
                    <a:pt x="3303215" y="3423212"/>
                    <a:pt x="3355493" y="3263685"/>
                  </a:cubicBezTo>
                  <a:cubicBezTo>
                    <a:pt x="3407771" y="3104158"/>
                    <a:pt x="3436400" y="2930921"/>
                    <a:pt x="3436400" y="2747715"/>
                  </a:cubicBezTo>
                  <a:cubicBezTo>
                    <a:pt x="3436400" y="2565754"/>
                    <a:pt x="3407771" y="2391271"/>
                    <a:pt x="3355493" y="2231744"/>
                  </a:cubicBezTo>
                  <a:cubicBezTo>
                    <a:pt x="3303215" y="2070970"/>
                    <a:pt x="3227287" y="1926399"/>
                    <a:pt x="3133933" y="1803015"/>
                  </a:cubicBezTo>
                  <a:cubicBezTo>
                    <a:pt x="3038090" y="1678384"/>
                    <a:pt x="2924821" y="1576187"/>
                    <a:pt x="2797860" y="1502655"/>
                  </a:cubicBezTo>
                  <a:cubicBezTo>
                    <a:pt x="2669654" y="1427877"/>
                    <a:pt x="2526511" y="1384256"/>
                    <a:pt x="2375900" y="1376778"/>
                  </a:cubicBezTo>
                  <a:close/>
                  <a:moveTo>
                    <a:pt x="2375900" y="919384"/>
                  </a:moveTo>
                  <a:cubicBezTo>
                    <a:pt x="2577545" y="931847"/>
                    <a:pt x="2766742" y="994162"/>
                    <a:pt x="2936023" y="1095113"/>
                  </a:cubicBezTo>
                  <a:cubicBezTo>
                    <a:pt x="3104060" y="1194818"/>
                    <a:pt x="3253426" y="1333158"/>
                    <a:pt x="3376653" y="1498916"/>
                  </a:cubicBezTo>
                  <a:cubicBezTo>
                    <a:pt x="3501125" y="1663429"/>
                    <a:pt x="3599458" y="1855360"/>
                    <a:pt x="3667917" y="2067232"/>
                  </a:cubicBezTo>
                  <a:cubicBezTo>
                    <a:pt x="3735132" y="2277857"/>
                    <a:pt x="3772473" y="2507178"/>
                    <a:pt x="3772473" y="2747715"/>
                  </a:cubicBezTo>
                  <a:cubicBezTo>
                    <a:pt x="3772473" y="2988252"/>
                    <a:pt x="3735132" y="3217572"/>
                    <a:pt x="3667917" y="3428197"/>
                  </a:cubicBezTo>
                  <a:cubicBezTo>
                    <a:pt x="3599458" y="3638823"/>
                    <a:pt x="3501125" y="3830754"/>
                    <a:pt x="3376653" y="3995267"/>
                  </a:cubicBezTo>
                  <a:cubicBezTo>
                    <a:pt x="3253426" y="4161025"/>
                    <a:pt x="3104060" y="4299365"/>
                    <a:pt x="2936023" y="4399070"/>
                  </a:cubicBezTo>
                  <a:cubicBezTo>
                    <a:pt x="2766742" y="4500020"/>
                    <a:pt x="2577545" y="4562336"/>
                    <a:pt x="2375900" y="4573552"/>
                  </a:cubicBezTo>
                  <a:cubicBezTo>
                    <a:pt x="2171767" y="4587262"/>
                    <a:pt x="1976346" y="4547380"/>
                    <a:pt x="1794617" y="4463878"/>
                  </a:cubicBezTo>
                  <a:cubicBezTo>
                    <a:pt x="1611644" y="4379129"/>
                    <a:pt x="1444852" y="4249513"/>
                    <a:pt x="1302954" y="4085001"/>
                  </a:cubicBezTo>
                  <a:cubicBezTo>
                    <a:pt x="1159811" y="3919242"/>
                    <a:pt x="1042808" y="3719833"/>
                    <a:pt x="961901" y="3493005"/>
                  </a:cubicBezTo>
                  <a:cubicBezTo>
                    <a:pt x="880995" y="3264931"/>
                    <a:pt x="834940" y="3013178"/>
                    <a:pt x="834940" y="2747715"/>
                  </a:cubicBezTo>
                  <a:cubicBezTo>
                    <a:pt x="834940" y="2482251"/>
                    <a:pt x="880995" y="2230498"/>
                    <a:pt x="961901" y="2002424"/>
                  </a:cubicBezTo>
                  <a:cubicBezTo>
                    <a:pt x="1042808" y="1775596"/>
                    <a:pt x="1159811" y="1574941"/>
                    <a:pt x="1302954" y="1407936"/>
                  </a:cubicBezTo>
                  <a:cubicBezTo>
                    <a:pt x="1444852" y="1244670"/>
                    <a:pt x="1611644" y="1115054"/>
                    <a:pt x="1794617" y="1030305"/>
                  </a:cubicBezTo>
                  <a:cubicBezTo>
                    <a:pt x="1976346" y="946803"/>
                    <a:pt x="2171767" y="908167"/>
                    <a:pt x="2375900" y="919384"/>
                  </a:cubicBezTo>
                  <a:close/>
                  <a:moveTo>
                    <a:pt x="2183174" y="461240"/>
                  </a:moveTo>
                  <a:cubicBezTo>
                    <a:pt x="1995505" y="471052"/>
                    <a:pt x="1814137" y="515906"/>
                    <a:pt x="1643274" y="591597"/>
                  </a:cubicBezTo>
                  <a:cubicBezTo>
                    <a:pt x="1410477" y="695011"/>
                    <a:pt x="1198843" y="854492"/>
                    <a:pt x="1019577" y="1060074"/>
                  </a:cubicBezTo>
                  <a:cubicBezTo>
                    <a:pt x="836576" y="1266901"/>
                    <a:pt x="687188" y="1519828"/>
                    <a:pt x="583860" y="1805150"/>
                  </a:cubicBezTo>
                  <a:cubicBezTo>
                    <a:pt x="479288" y="2094210"/>
                    <a:pt x="422023" y="2411926"/>
                    <a:pt x="422023" y="2748332"/>
                  </a:cubicBezTo>
                  <a:cubicBezTo>
                    <a:pt x="422023" y="3083492"/>
                    <a:pt x="479288" y="3403700"/>
                    <a:pt x="583860" y="3690268"/>
                  </a:cubicBezTo>
                  <a:cubicBezTo>
                    <a:pt x="687188" y="3975590"/>
                    <a:pt x="836576" y="4228518"/>
                    <a:pt x="1019577" y="4435345"/>
                  </a:cubicBezTo>
                  <a:cubicBezTo>
                    <a:pt x="1198843" y="4640926"/>
                    <a:pt x="1410477" y="4800408"/>
                    <a:pt x="1643274" y="4903821"/>
                  </a:cubicBezTo>
                  <a:cubicBezTo>
                    <a:pt x="1871092" y="5004743"/>
                    <a:pt x="2117583" y="5050843"/>
                    <a:pt x="2372788" y="5030908"/>
                  </a:cubicBezTo>
                  <a:cubicBezTo>
                    <a:pt x="2623014" y="5012219"/>
                    <a:pt x="2858301" y="4931232"/>
                    <a:pt x="3069935" y="4802899"/>
                  </a:cubicBezTo>
                  <a:cubicBezTo>
                    <a:pt x="3276589" y="4675813"/>
                    <a:pt x="3460835" y="4502626"/>
                    <a:pt x="3613958" y="4295799"/>
                  </a:cubicBezTo>
                  <a:cubicBezTo>
                    <a:pt x="3765836" y="4088971"/>
                    <a:pt x="3887837" y="3849750"/>
                    <a:pt x="3970001" y="3589347"/>
                  </a:cubicBezTo>
                  <a:cubicBezTo>
                    <a:pt x="4053409" y="3330190"/>
                    <a:pt x="4099471" y="3044868"/>
                    <a:pt x="4099471" y="2748332"/>
                  </a:cubicBezTo>
                  <a:cubicBezTo>
                    <a:pt x="4099471" y="2450551"/>
                    <a:pt x="4053409" y="2167721"/>
                    <a:pt x="3970001" y="1907318"/>
                  </a:cubicBezTo>
                  <a:cubicBezTo>
                    <a:pt x="3887837" y="1644423"/>
                    <a:pt x="3765836" y="1405201"/>
                    <a:pt x="3613958" y="1200866"/>
                  </a:cubicBezTo>
                  <a:cubicBezTo>
                    <a:pt x="3460835" y="992792"/>
                    <a:pt x="3276589" y="819606"/>
                    <a:pt x="3069935" y="692519"/>
                  </a:cubicBezTo>
                  <a:cubicBezTo>
                    <a:pt x="2858301" y="564186"/>
                    <a:pt x="2623014" y="483200"/>
                    <a:pt x="2372788" y="463265"/>
                  </a:cubicBezTo>
                  <a:cubicBezTo>
                    <a:pt x="2308987" y="458592"/>
                    <a:pt x="2245730" y="457970"/>
                    <a:pt x="2183174" y="461240"/>
                  </a:cubicBezTo>
                  <a:close/>
                  <a:moveTo>
                    <a:pt x="2144932" y="1213"/>
                  </a:moveTo>
                  <a:cubicBezTo>
                    <a:pt x="2220210" y="-1552"/>
                    <a:pt x="2296227" y="395"/>
                    <a:pt x="2372788" y="7248"/>
                  </a:cubicBezTo>
                  <a:cubicBezTo>
                    <a:pt x="2674055" y="34659"/>
                    <a:pt x="2954159" y="135581"/>
                    <a:pt x="3204384" y="292570"/>
                  </a:cubicBezTo>
                  <a:cubicBezTo>
                    <a:pt x="3450876" y="448313"/>
                    <a:pt x="3669979" y="657633"/>
                    <a:pt x="3850490" y="906822"/>
                  </a:cubicBezTo>
                  <a:cubicBezTo>
                    <a:pt x="4029756" y="1152274"/>
                    <a:pt x="4171675" y="1437596"/>
                    <a:pt x="4270022" y="1749082"/>
                  </a:cubicBezTo>
                  <a:cubicBezTo>
                    <a:pt x="4367125" y="2058077"/>
                    <a:pt x="4420656" y="2395729"/>
                    <a:pt x="4420656" y="2748332"/>
                  </a:cubicBezTo>
                  <a:cubicBezTo>
                    <a:pt x="4420656" y="3100935"/>
                    <a:pt x="4367125" y="3437341"/>
                    <a:pt x="4270022" y="3747582"/>
                  </a:cubicBezTo>
                  <a:cubicBezTo>
                    <a:pt x="4171675" y="4057823"/>
                    <a:pt x="4029756" y="4343145"/>
                    <a:pt x="3850490" y="4589842"/>
                  </a:cubicBezTo>
                  <a:cubicBezTo>
                    <a:pt x="3669979" y="4837786"/>
                    <a:pt x="3450876" y="5047105"/>
                    <a:pt x="3204384" y="5201603"/>
                  </a:cubicBezTo>
                  <a:cubicBezTo>
                    <a:pt x="2954159" y="5359837"/>
                    <a:pt x="2674055" y="5460759"/>
                    <a:pt x="2372788" y="5488170"/>
                  </a:cubicBezTo>
                  <a:cubicBezTo>
                    <a:pt x="2066542" y="5515581"/>
                    <a:pt x="1769010" y="5465743"/>
                    <a:pt x="1492641" y="5347378"/>
                  </a:cubicBezTo>
                  <a:cubicBezTo>
                    <a:pt x="1211292" y="5227767"/>
                    <a:pt x="953597" y="5037138"/>
                    <a:pt x="733249" y="4791686"/>
                  </a:cubicBezTo>
                  <a:cubicBezTo>
                    <a:pt x="510411" y="4542496"/>
                    <a:pt x="327410" y="4237239"/>
                    <a:pt x="200430" y="3892112"/>
                  </a:cubicBezTo>
                  <a:cubicBezTo>
                    <a:pt x="70960" y="3544492"/>
                    <a:pt x="0" y="3157003"/>
                    <a:pt x="0" y="2748332"/>
                  </a:cubicBezTo>
                  <a:cubicBezTo>
                    <a:pt x="0" y="2339661"/>
                    <a:pt x="70960" y="1952172"/>
                    <a:pt x="200430" y="1603307"/>
                  </a:cubicBezTo>
                  <a:cubicBezTo>
                    <a:pt x="327410" y="1258179"/>
                    <a:pt x="510411" y="951676"/>
                    <a:pt x="733249" y="703733"/>
                  </a:cubicBezTo>
                  <a:cubicBezTo>
                    <a:pt x="953597" y="457035"/>
                    <a:pt x="1211292" y="267651"/>
                    <a:pt x="1492641" y="148040"/>
                  </a:cubicBezTo>
                  <a:cubicBezTo>
                    <a:pt x="1699918" y="60201"/>
                    <a:pt x="1919099" y="9506"/>
                    <a:pt x="2144932" y="1213"/>
                  </a:cubicBezTo>
                  <a:close/>
                </a:path>
              </a:pathLst>
            </a:custGeom>
            <a:solidFill>
              <a:schemeClr val="accent6"/>
            </a:solidFill>
            <a:ln>
              <a:noFill/>
            </a:ln>
            <a:effectLst/>
          </p:spPr>
          <p:txBody>
            <a:bodyPr wrap="square" anchor="ctr">
              <a:noAutofit/>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DD5E9069-77EC-3F1E-0D87-04BF18EDF068}"/>
                </a:ext>
              </a:extLst>
            </p:cNvPr>
            <p:cNvSpPr>
              <a:spLocks noChangeArrowheads="1"/>
            </p:cNvSpPr>
            <p:nvPr/>
          </p:nvSpPr>
          <p:spPr bwMode="auto">
            <a:xfrm>
              <a:off x="2526377" y="3631066"/>
              <a:ext cx="2482664" cy="5775396"/>
            </a:xfrm>
            <a:custGeom>
              <a:avLst/>
              <a:gdLst>
                <a:gd name="T0" fmla="*/ 349 w 1877"/>
                <a:gd name="T1" fmla="*/ 2185 h 4370"/>
                <a:gd name="T2" fmla="*/ 351 w 1877"/>
                <a:gd name="T3" fmla="*/ 2080 h 4370"/>
                <a:gd name="T4" fmla="*/ 364 w 1877"/>
                <a:gd name="T5" fmla="*/ 1903 h 4370"/>
                <a:gd name="T6" fmla="*/ 383 w 1877"/>
                <a:gd name="T7" fmla="*/ 1750 h 4370"/>
                <a:gd name="T8" fmla="*/ 415 w 1877"/>
                <a:gd name="T9" fmla="*/ 1588 h 4370"/>
                <a:gd name="T10" fmla="*/ 438 w 1877"/>
                <a:gd name="T11" fmla="*/ 1493 h 4370"/>
                <a:gd name="T12" fmla="*/ 485 w 1877"/>
                <a:gd name="T13" fmla="*/ 1337 h 4370"/>
                <a:gd name="T14" fmla="*/ 543 w 1877"/>
                <a:gd name="T15" fmla="*/ 1181 h 4370"/>
                <a:gd name="T16" fmla="*/ 616 w 1877"/>
                <a:gd name="T17" fmla="*/ 1021 h 4370"/>
                <a:gd name="T18" fmla="*/ 656 w 1877"/>
                <a:gd name="T19" fmla="*/ 945 h 4370"/>
                <a:gd name="T20" fmla="*/ 746 w 1877"/>
                <a:gd name="T21" fmla="*/ 795 h 4370"/>
                <a:gd name="T22" fmla="*/ 787 w 1877"/>
                <a:gd name="T23" fmla="*/ 734 h 4370"/>
                <a:gd name="T24" fmla="*/ 843 w 1877"/>
                <a:gd name="T25" fmla="*/ 658 h 4370"/>
                <a:gd name="T26" fmla="*/ 883 w 1877"/>
                <a:gd name="T27" fmla="*/ 608 h 4370"/>
                <a:gd name="T28" fmla="*/ 947 w 1877"/>
                <a:gd name="T29" fmla="*/ 534 h 4370"/>
                <a:gd name="T30" fmla="*/ 1004 w 1877"/>
                <a:gd name="T31" fmla="*/ 473 h 4370"/>
                <a:gd name="T32" fmla="*/ 1068 w 1877"/>
                <a:gd name="T33" fmla="*/ 411 h 4370"/>
                <a:gd name="T34" fmla="*/ 1115 w 1877"/>
                <a:gd name="T35" fmla="*/ 370 h 4370"/>
                <a:gd name="T36" fmla="*/ 1183 w 1877"/>
                <a:gd name="T37" fmla="*/ 315 h 4370"/>
                <a:gd name="T38" fmla="*/ 1238 w 1877"/>
                <a:gd name="T39" fmla="*/ 274 h 4370"/>
                <a:gd name="T40" fmla="*/ 1310 w 1877"/>
                <a:gd name="T41" fmla="*/ 224 h 4370"/>
                <a:gd name="T42" fmla="*/ 1359 w 1877"/>
                <a:gd name="T43" fmla="*/ 194 h 4370"/>
                <a:gd name="T44" fmla="*/ 1446 w 1877"/>
                <a:gd name="T45" fmla="*/ 146 h 4370"/>
                <a:gd name="T46" fmla="*/ 1507 w 1877"/>
                <a:gd name="T47" fmla="*/ 116 h 4370"/>
                <a:gd name="T48" fmla="*/ 1583 w 1877"/>
                <a:gd name="T49" fmla="*/ 84 h 4370"/>
                <a:gd name="T50" fmla="*/ 1638 w 1877"/>
                <a:gd name="T51" fmla="*/ 63 h 4370"/>
                <a:gd name="T52" fmla="*/ 1716 w 1877"/>
                <a:gd name="T53" fmla="*/ 37 h 4370"/>
                <a:gd name="T54" fmla="*/ 1780 w 1877"/>
                <a:gd name="T55" fmla="*/ 21 h 4370"/>
                <a:gd name="T56" fmla="*/ 1876 w 1877"/>
                <a:gd name="T57" fmla="*/ 0 h 4370"/>
                <a:gd name="T58" fmla="*/ 1422 w 1877"/>
                <a:gd name="T59" fmla="*/ 82 h 4370"/>
                <a:gd name="T60" fmla="*/ 1367 w 1877"/>
                <a:gd name="T61" fmla="*/ 96 h 4370"/>
                <a:gd name="T62" fmla="*/ 1289 w 1877"/>
                <a:gd name="T63" fmla="*/ 119 h 4370"/>
                <a:gd name="T64" fmla="*/ 1229 w 1877"/>
                <a:gd name="T65" fmla="*/ 140 h 4370"/>
                <a:gd name="T66" fmla="*/ 1175 w 1877"/>
                <a:gd name="T67" fmla="*/ 162 h 4370"/>
                <a:gd name="T68" fmla="*/ 1115 w 1877"/>
                <a:gd name="T69" fmla="*/ 189 h 4370"/>
                <a:gd name="T70" fmla="*/ 1038 w 1877"/>
                <a:gd name="T71" fmla="*/ 229 h 4370"/>
                <a:gd name="T72" fmla="*/ 985 w 1877"/>
                <a:gd name="T73" fmla="*/ 258 h 4370"/>
                <a:gd name="T74" fmla="*/ 922 w 1877"/>
                <a:gd name="T75" fmla="*/ 298 h 4370"/>
                <a:gd name="T76" fmla="*/ 883 w 1877"/>
                <a:gd name="T77" fmla="*/ 325 h 4370"/>
                <a:gd name="T78" fmla="*/ 819 w 1877"/>
                <a:gd name="T79" fmla="*/ 372 h 4370"/>
                <a:gd name="T80" fmla="*/ 771 w 1877"/>
                <a:gd name="T81" fmla="*/ 410 h 4370"/>
                <a:gd name="T82" fmla="*/ 706 w 1877"/>
                <a:gd name="T83" fmla="*/ 466 h 4370"/>
                <a:gd name="T84" fmla="*/ 655 w 1877"/>
                <a:gd name="T85" fmla="*/ 515 h 4370"/>
                <a:gd name="T86" fmla="*/ 613 w 1877"/>
                <a:gd name="T87" fmla="*/ 557 h 4370"/>
                <a:gd name="T88" fmla="*/ 553 w 1877"/>
                <a:gd name="T89" fmla="*/ 623 h 4370"/>
                <a:gd name="T90" fmla="*/ 496 w 1877"/>
                <a:gd name="T91" fmla="*/ 691 h 4370"/>
                <a:gd name="T92" fmla="*/ 457 w 1877"/>
                <a:gd name="T93" fmla="*/ 742 h 4370"/>
                <a:gd name="T94" fmla="*/ 415 w 1877"/>
                <a:gd name="T95" fmla="*/ 800 h 4370"/>
                <a:gd name="T96" fmla="*/ 383 w 1877"/>
                <a:gd name="T97" fmla="*/ 847 h 4370"/>
                <a:gd name="T98" fmla="*/ 301 w 1877"/>
                <a:gd name="T99" fmla="*/ 983 h 4370"/>
                <a:gd name="T100" fmla="*/ 263 w 1877"/>
                <a:gd name="T101" fmla="*/ 1055 h 4370"/>
                <a:gd name="T102" fmla="*/ 224 w 1877"/>
                <a:gd name="T103" fmla="*/ 1134 h 4370"/>
                <a:gd name="T104" fmla="*/ 163 w 1877"/>
                <a:gd name="T105" fmla="*/ 1281 h 4370"/>
                <a:gd name="T106" fmla="*/ 131 w 1877"/>
                <a:gd name="T107" fmla="*/ 1371 h 4370"/>
                <a:gd name="T108" fmla="*/ 106 w 1877"/>
                <a:gd name="T109" fmla="*/ 1447 h 4370"/>
                <a:gd name="T110" fmla="*/ 67 w 1877"/>
                <a:gd name="T111" fmla="*/ 1596 h 4370"/>
                <a:gd name="T112" fmla="*/ 50 w 1877"/>
                <a:gd name="T113" fmla="*/ 1673 h 4370"/>
                <a:gd name="T114" fmla="*/ 33 w 1877"/>
                <a:gd name="T115" fmla="*/ 1764 h 4370"/>
                <a:gd name="T116" fmla="*/ 14 w 1877"/>
                <a:gd name="T117" fmla="*/ 1912 h 4370"/>
                <a:gd name="T118" fmla="*/ 5 w 1877"/>
                <a:gd name="T119" fmla="*/ 2009 h 4370"/>
                <a:gd name="T120" fmla="*/ 0 w 1877"/>
                <a:gd name="T121" fmla="*/ 2110 h 4370"/>
                <a:gd name="T122" fmla="*/ 0 w 1877"/>
                <a:gd name="T123" fmla="*/ 2160 h 4370"/>
                <a:gd name="T124" fmla="*/ 447 w 1877"/>
                <a:gd name="T125" fmla="*/ 3614 h 4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7" h="4370">
                  <a:moveTo>
                    <a:pt x="1291" y="4132"/>
                  </a:moveTo>
                  <a:lnTo>
                    <a:pt x="1291" y="4132"/>
                  </a:lnTo>
                  <a:cubicBezTo>
                    <a:pt x="1109" y="4011"/>
                    <a:pt x="944" y="3851"/>
                    <a:pt x="805" y="3659"/>
                  </a:cubicBezTo>
                  <a:lnTo>
                    <a:pt x="805" y="3659"/>
                  </a:lnTo>
                  <a:cubicBezTo>
                    <a:pt x="664" y="3466"/>
                    <a:pt x="550" y="3240"/>
                    <a:pt x="471" y="2992"/>
                  </a:cubicBezTo>
                  <a:lnTo>
                    <a:pt x="471" y="2992"/>
                  </a:lnTo>
                  <a:cubicBezTo>
                    <a:pt x="393" y="2742"/>
                    <a:pt x="349" y="2470"/>
                    <a:pt x="349" y="2185"/>
                  </a:cubicBezTo>
                  <a:lnTo>
                    <a:pt x="349" y="2185"/>
                  </a:lnTo>
                  <a:cubicBezTo>
                    <a:pt x="349" y="2167"/>
                    <a:pt x="349" y="2150"/>
                    <a:pt x="350" y="2132"/>
                  </a:cubicBezTo>
                  <a:lnTo>
                    <a:pt x="350" y="2132"/>
                  </a:lnTo>
                  <a:cubicBezTo>
                    <a:pt x="350" y="2132"/>
                    <a:pt x="350" y="2131"/>
                    <a:pt x="350" y="2130"/>
                  </a:cubicBezTo>
                  <a:lnTo>
                    <a:pt x="350" y="2130"/>
                  </a:lnTo>
                  <a:cubicBezTo>
                    <a:pt x="350" y="2114"/>
                    <a:pt x="350" y="2097"/>
                    <a:pt x="351" y="2080"/>
                  </a:cubicBezTo>
                  <a:lnTo>
                    <a:pt x="351" y="2080"/>
                  </a:lnTo>
                  <a:cubicBezTo>
                    <a:pt x="352" y="2055"/>
                    <a:pt x="353" y="2029"/>
                    <a:pt x="355" y="2004"/>
                  </a:cubicBezTo>
                  <a:lnTo>
                    <a:pt x="355" y="2004"/>
                  </a:lnTo>
                  <a:cubicBezTo>
                    <a:pt x="355" y="1999"/>
                    <a:pt x="356" y="1993"/>
                    <a:pt x="356" y="1988"/>
                  </a:cubicBezTo>
                  <a:lnTo>
                    <a:pt x="356" y="1988"/>
                  </a:lnTo>
                  <a:cubicBezTo>
                    <a:pt x="358" y="1964"/>
                    <a:pt x="360" y="1939"/>
                    <a:pt x="362" y="1914"/>
                  </a:cubicBezTo>
                  <a:lnTo>
                    <a:pt x="362" y="1914"/>
                  </a:lnTo>
                  <a:cubicBezTo>
                    <a:pt x="362" y="1910"/>
                    <a:pt x="363" y="1907"/>
                    <a:pt x="364" y="1903"/>
                  </a:cubicBezTo>
                  <a:lnTo>
                    <a:pt x="364" y="1903"/>
                  </a:lnTo>
                  <a:cubicBezTo>
                    <a:pt x="366" y="1879"/>
                    <a:pt x="369" y="1855"/>
                    <a:pt x="372" y="1831"/>
                  </a:cubicBezTo>
                  <a:lnTo>
                    <a:pt x="372" y="1831"/>
                  </a:lnTo>
                  <a:cubicBezTo>
                    <a:pt x="372" y="1829"/>
                    <a:pt x="372" y="1826"/>
                    <a:pt x="373" y="1824"/>
                  </a:cubicBezTo>
                  <a:lnTo>
                    <a:pt x="373" y="1824"/>
                  </a:lnTo>
                  <a:cubicBezTo>
                    <a:pt x="376" y="1799"/>
                    <a:pt x="380" y="1774"/>
                    <a:pt x="383" y="1750"/>
                  </a:cubicBezTo>
                  <a:lnTo>
                    <a:pt x="383" y="1750"/>
                  </a:lnTo>
                  <a:cubicBezTo>
                    <a:pt x="384" y="1746"/>
                    <a:pt x="385" y="1741"/>
                    <a:pt x="386" y="1736"/>
                  </a:cubicBezTo>
                  <a:lnTo>
                    <a:pt x="386" y="1736"/>
                  </a:lnTo>
                  <a:cubicBezTo>
                    <a:pt x="390" y="1711"/>
                    <a:pt x="394" y="1688"/>
                    <a:pt x="399" y="1663"/>
                  </a:cubicBezTo>
                  <a:lnTo>
                    <a:pt x="399" y="1663"/>
                  </a:lnTo>
                  <a:cubicBezTo>
                    <a:pt x="399" y="1661"/>
                    <a:pt x="400" y="1658"/>
                    <a:pt x="400" y="1656"/>
                  </a:cubicBezTo>
                  <a:lnTo>
                    <a:pt x="400" y="1656"/>
                  </a:lnTo>
                  <a:cubicBezTo>
                    <a:pt x="405" y="1633"/>
                    <a:pt x="410" y="1611"/>
                    <a:pt x="415" y="1588"/>
                  </a:cubicBezTo>
                  <a:lnTo>
                    <a:pt x="415" y="1588"/>
                  </a:lnTo>
                  <a:cubicBezTo>
                    <a:pt x="416" y="1584"/>
                    <a:pt x="416" y="1581"/>
                    <a:pt x="418" y="1577"/>
                  </a:cubicBezTo>
                  <a:lnTo>
                    <a:pt x="418" y="1577"/>
                  </a:lnTo>
                  <a:cubicBezTo>
                    <a:pt x="422" y="1554"/>
                    <a:pt x="429" y="1531"/>
                    <a:pt x="434" y="1507"/>
                  </a:cubicBezTo>
                  <a:lnTo>
                    <a:pt x="434" y="1507"/>
                  </a:lnTo>
                  <a:cubicBezTo>
                    <a:pt x="435" y="1503"/>
                    <a:pt x="437" y="1498"/>
                    <a:pt x="438" y="1493"/>
                  </a:cubicBezTo>
                  <a:lnTo>
                    <a:pt x="438" y="1493"/>
                  </a:lnTo>
                  <a:cubicBezTo>
                    <a:pt x="445" y="1470"/>
                    <a:pt x="451" y="1447"/>
                    <a:pt x="457" y="1424"/>
                  </a:cubicBezTo>
                  <a:lnTo>
                    <a:pt x="457" y="1424"/>
                  </a:lnTo>
                  <a:cubicBezTo>
                    <a:pt x="458" y="1423"/>
                    <a:pt x="458" y="1422"/>
                    <a:pt x="458" y="1422"/>
                  </a:cubicBezTo>
                  <a:lnTo>
                    <a:pt x="458" y="1422"/>
                  </a:lnTo>
                  <a:cubicBezTo>
                    <a:pt x="466" y="1395"/>
                    <a:pt x="474" y="1370"/>
                    <a:pt x="482" y="1344"/>
                  </a:cubicBezTo>
                  <a:lnTo>
                    <a:pt x="482" y="1344"/>
                  </a:lnTo>
                  <a:cubicBezTo>
                    <a:pt x="484" y="1342"/>
                    <a:pt x="484" y="1339"/>
                    <a:pt x="485" y="1337"/>
                  </a:cubicBezTo>
                  <a:lnTo>
                    <a:pt x="485" y="1337"/>
                  </a:lnTo>
                  <a:cubicBezTo>
                    <a:pt x="493" y="1312"/>
                    <a:pt x="502" y="1287"/>
                    <a:pt x="511" y="1263"/>
                  </a:cubicBezTo>
                  <a:lnTo>
                    <a:pt x="511" y="1263"/>
                  </a:lnTo>
                  <a:cubicBezTo>
                    <a:pt x="512" y="1259"/>
                    <a:pt x="514" y="1255"/>
                    <a:pt x="515" y="1252"/>
                  </a:cubicBezTo>
                  <a:lnTo>
                    <a:pt x="515" y="1252"/>
                  </a:lnTo>
                  <a:cubicBezTo>
                    <a:pt x="524" y="1228"/>
                    <a:pt x="534" y="1205"/>
                    <a:pt x="543" y="1181"/>
                  </a:cubicBezTo>
                  <a:lnTo>
                    <a:pt x="543" y="1181"/>
                  </a:lnTo>
                  <a:cubicBezTo>
                    <a:pt x="545" y="1177"/>
                    <a:pt x="546" y="1173"/>
                    <a:pt x="548" y="1170"/>
                  </a:cubicBezTo>
                  <a:lnTo>
                    <a:pt x="548" y="1170"/>
                  </a:lnTo>
                  <a:cubicBezTo>
                    <a:pt x="557" y="1147"/>
                    <a:pt x="567" y="1123"/>
                    <a:pt x="578" y="1100"/>
                  </a:cubicBezTo>
                  <a:lnTo>
                    <a:pt x="578" y="1100"/>
                  </a:lnTo>
                  <a:cubicBezTo>
                    <a:pt x="579" y="1097"/>
                    <a:pt x="581" y="1095"/>
                    <a:pt x="582" y="1091"/>
                  </a:cubicBezTo>
                  <a:lnTo>
                    <a:pt x="582" y="1091"/>
                  </a:lnTo>
                  <a:cubicBezTo>
                    <a:pt x="593" y="1068"/>
                    <a:pt x="604" y="1044"/>
                    <a:pt x="616" y="1021"/>
                  </a:cubicBezTo>
                  <a:lnTo>
                    <a:pt x="616" y="1021"/>
                  </a:lnTo>
                  <a:lnTo>
                    <a:pt x="617" y="1019"/>
                  </a:lnTo>
                  <a:lnTo>
                    <a:pt x="617" y="1019"/>
                  </a:lnTo>
                  <a:cubicBezTo>
                    <a:pt x="629" y="995"/>
                    <a:pt x="641" y="972"/>
                    <a:pt x="653" y="949"/>
                  </a:cubicBezTo>
                  <a:lnTo>
                    <a:pt x="653" y="949"/>
                  </a:lnTo>
                  <a:cubicBezTo>
                    <a:pt x="654" y="948"/>
                    <a:pt x="655" y="946"/>
                    <a:pt x="656" y="945"/>
                  </a:cubicBezTo>
                  <a:lnTo>
                    <a:pt x="656" y="945"/>
                  </a:lnTo>
                  <a:cubicBezTo>
                    <a:pt x="668" y="923"/>
                    <a:pt x="681" y="901"/>
                    <a:pt x="693" y="879"/>
                  </a:cubicBezTo>
                  <a:lnTo>
                    <a:pt x="693" y="879"/>
                  </a:lnTo>
                  <a:cubicBezTo>
                    <a:pt x="695" y="876"/>
                    <a:pt x="697" y="873"/>
                    <a:pt x="699" y="870"/>
                  </a:cubicBezTo>
                  <a:lnTo>
                    <a:pt x="699" y="870"/>
                  </a:lnTo>
                  <a:cubicBezTo>
                    <a:pt x="711" y="849"/>
                    <a:pt x="724" y="829"/>
                    <a:pt x="737" y="809"/>
                  </a:cubicBezTo>
                  <a:lnTo>
                    <a:pt x="737" y="809"/>
                  </a:lnTo>
                  <a:cubicBezTo>
                    <a:pt x="740" y="804"/>
                    <a:pt x="743" y="800"/>
                    <a:pt x="746" y="795"/>
                  </a:cubicBezTo>
                  <a:lnTo>
                    <a:pt x="746" y="795"/>
                  </a:lnTo>
                  <a:cubicBezTo>
                    <a:pt x="751" y="787"/>
                    <a:pt x="756" y="780"/>
                    <a:pt x="761" y="773"/>
                  </a:cubicBezTo>
                  <a:lnTo>
                    <a:pt x="761" y="773"/>
                  </a:lnTo>
                  <a:cubicBezTo>
                    <a:pt x="764" y="767"/>
                    <a:pt x="768" y="761"/>
                    <a:pt x="772" y="756"/>
                  </a:cubicBezTo>
                  <a:lnTo>
                    <a:pt x="772" y="756"/>
                  </a:lnTo>
                  <a:cubicBezTo>
                    <a:pt x="777" y="748"/>
                    <a:pt x="782" y="741"/>
                    <a:pt x="787" y="734"/>
                  </a:cubicBezTo>
                  <a:lnTo>
                    <a:pt x="787" y="734"/>
                  </a:lnTo>
                  <a:cubicBezTo>
                    <a:pt x="791" y="728"/>
                    <a:pt x="795" y="723"/>
                    <a:pt x="799" y="717"/>
                  </a:cubicBezTo>
                  <a:lnTo>
                    <a:pt x="799" y="717"/>
                  </a:lnTo>
                  <a:cubicBezTo>
                    <a:pt x="804" y="710"/>
                    <a:pt x="809" y="702"/>
                    <a:pt x="815" y="696"/>
                  </a:cubicBezTo>
                  <a:lnTo>
                    <a:pt x="815" y="696"/>
                  </a:lnTo>
                  <a:cubicBezTo>
                    <a:pt x="819" y="690"/>
                    <a:pt x="822" y="685"/>
                    <a:pt x="827" y="680"/>
                  </a:cubicBezTo>
                  <a:lnTo>
                    <a:pt x="827" y="680"/>
                  </a:lnTo>
                  <a:cubicBezTo>
                    <a:pt x="832" y="672"/>
                    <a:pt x="838" y="665"/>
                    <a:pt x="843" y="658"/>
                  </a:cubicBezTo>
                  <a:lnTo>
                    <a:pt x="843" y="658"/>
                  </a:lnTo>
                  <a:cubicBezTo>
                    <a:pt x="847" y="653"/>
                    <a:pt x="850" y="648"/>
                    <a:pt x="855" y="643"/>
                  </a:cubicBezTo>
                  <a:lnTo>
                    <a:pt x="855" y="643"/>
                  </a:lnTo>
                  <a:cubicBezTo>
                    <a:pt x="861" y="636"/>
                    <a:pt x="867" y="628"/>
                    <a:pt x="872" y="620"/>
                  </a:cubicBezTo>
                  <a:lnTo>
                    <a:pt x="872" y="620"/>
                  </a:lnTo>
                  <a:cubicBezTo>
                    <a:pt x="876" y="616"/>
                    <a:pt x="880" y="612"/>
                    <a:pt x="883" y="608"/>
                  </a:cubicBezTo>
                  <a:lnTo>
                    <a:pt x="883" y="608"/>
                  </a:lnTo>
                  <a:cubicBezTo>
                    <a:pt x="891" y="598"/>
                    <a:pt x="898" y="589"/>
                    <a:pt x="906" y="581"/>
                  </a:cubicBezTo>
                  <a:lnTo>
                    <a:pt x="906" y="581"/>
                  </a:lnTo>
                  <a:cubicBezTo>
                    <a:pt x="908" y="578"/>
                    <a:pt x="911" y="575"/>
                    <a:pt x="913" y="573"/>
                  </a:cubicBezTo>
                  <a:lnTo>
                    <a:pt x="913" y="573"/>
                  </a:lnTo>
                  <a:cubicBezTo>
                    <a:pt x="923" y="561"/>
                    <a:pt x="933" y="550"/>
                    <a:pt x="943" y="539"/>
                  </a:cubicBezTo>
                  <a:lnTo>
                    <a:pt x="943" y="539"/>
                  </a:lnTo>
                  <a:cubicBezTo>
                    <a:pt x="944" y="537"/>
                    <a:pt x="946" y="535"/>
                    <a:pt x="947" y="534"/>
                  </a:cubicBezTo>
                  <a:lnTo>
                    <a:pt x="947" y="534"/>
                  </a:lnTo>
                  <a:cubicBezTo>
                    <a:pt x="956" y="524"/>
                    <a:pt x="965" y="515"/>
                    <a:pt x="974" y="505"/>
                  </a:cubicBezTo>
                  <a:lnTo>
                    <a:pt x="974" y="505"/>
                  </a:lnTo>
                  <a:cubicBezTo>
                    <a:pt x="976" y="502"/>
                    <a:pt x="980" y="498"/>
                    <a:pt x="984" y="495"/>
                  </a:cubicBezTo>
                  <a:lnTo>
                    <a:pt x="984" y="495"/>
                  </a:lnTo>
                  <a:cubicBezTo>
                    <a:pt x="991" y="488"/>
                    <a:pt x="997" y="481"/>
                    <a:pt x="1004" y="473"/>
                  </a:cubicBezTo>
                  <a:lnTo>
                    <a:pt x="1004" y="473"/>
                  </a:lnTo>
                  <a:cubicBezTo>
                    <a:pt x="1008" y="469"/>
                    <a:pt x="1013" y="465"/>
                    <a:pt x="1016" y="461"/>
                  </a:cubicBezTo>
                  <a:lnTo>
                    <a:pt x="1016" y="461"/>
                  </a:lnTo>
                  <a:cubicBezTo>
                    <a:pt x="1023" y="455"/>
                    <a:pt x="1030" y="449"/>
                    <a:pt x="1037" y="442"/>
                  </a:cubicBezTo>
                  <a:lnTo>
                    <a:pt x="1037" y="442"/>
                  </a:lnTo>
                  <a:cubicBezTo>
                    <a:pt x="1041" y="438"/>
                    <a:pt x="1045" y="434"/>
                    <a:pt x="1049" y="430"/>
                  </a:cubicBezTo>
                  <a:lnTo>
                    <a:pt x="1049" y="430"/>
                  </a:lnTo>
                  <a:cubicBezTo>
                    <a:pt x="1055" y="424"/>
                    <a:pt x="1062" y="418"/>
                    <a:pt x="1068" y="411"/>
                  </a:cubicBezTo>
                  <a:lnTo>
                    <a:pt x="1068" y="411"/>
                  </a:lnTo>
                  <a:cubicBezTo>
                    <a:pt x="1073" y="408"/>
                    <a:pt x="1077" y="403"/>
                    <a:pt x="1082" y="399"/>
                  </a:cubicBezTo>
                  <a:lnTo>
                    <a:pt x="1082" y="399"/>
                  </a:lnTo>
                  <a:cubicBezTo>
                    <a:pt x="1088" y="394"/>
                    <a:pt x="1095" y="388"/>
                    <a:pt x="1101" y="382"/>
                  </a:cubicBezTo>
                  <a:lnTo>
                    <a:pt x="1101" y="382"/>
                  </a:lnTo>
                  <a:cubicBezTo>
                    <a:pt x="1106" y="378"/>
                    <a:pt x="1111" y="374"/>
                    <a:pt x="1115" y="370"/>
                  </a:cubicBezTo>
                  <a:lnTo>
                    <a:pt x="1115" y="370"/>
                  </a:lnTo>
                  <a:cubicBezTo>
                    <a:pt x="1122" y="364"/>
                    <a:pt x="1128" y="359"/>
                    <a:pt x="1134" y="354"/>
                  </a:cubicBezTo>
                  <a:lnTo>
                    <a:pt x="1134" y="354"/>
                  </a:lnTo>
                  <a:cubicBezTo>
                    <a:pt x="1139" y="350"/>
                    <a:pt x="1144" y="346"/>
                    <a:pt x="1149" y="342"/>
                  </a:cubicBezTo>
                  <a:lnTo>
                    <a:pt x="1149" y="342"/>
                  </a:lnTo>
                  <a:cubicBezTo>
                    <a:pt x="1155" y="337"/>
                    <a:pt x="1162" y="331"/>
                    <a:pt x="1169" y="326"/>
                  </a:cubicBezTo>
                  <a:lnTo>
                    <a:pt x="1169" y="326"/>
                  </a:lnTo>
                  <a:cubicBezTo>
                    <a:pt x="1174" y="322"/>
                    <a:pt x="1178" y="318"/>
                    <a:pt x="1183" y="315"/>
                  </a:cubicBezTo>
                  <a:lnTo>
                    <a:pt x="1183" y="315"/>
                  </a:lnTo>
                  <a:cubicBezTo>
                    <a:pt x="1189" y="309"/>
                    <a:pt x="1196" y="304"/>
                    <a:pt x="1203" y="299"/>
                  </a:cubicBezTo>
                  <a:lnTo>
                    <a:pt x="1203" y="299"/>
                  </a:lnTo>
                  <a:cubicBezTo>
                    <a:pt x="1208" y="296"/>
                    <a:pt x="1213" y="292"/>
                    <a:pt x="1217" y="288"/>
                  </a:cubicBezTo>
                  <a:lnTo>
                    <a:pt x="1217" y="288"/>
                  </a:lnTo>
                  <a:cubicBezTo>
                    <a:pt x="1224" y="284"/>
                    <a:pt x="1231" y="279"/>
                    <a:pt x="1238" y="274"/>
                  </a:cubicBezTo>
                  <a:lnTo>
                    <a:pt x="1238" y="274"/>
                  </a:lnTo>
                  <a:cubicBezTo>
                    <a:pt x="1243" y="270"/>
                    <a:pt x="1247" y="266"/>
                    <a:pt x="1253" y="263"/>
                  </a:cubicBezTo>
                  <a:lnTo>
                    <a:pt x="1253" y="263"/>
                  </a:lnTo>
                  <a:cubicBezTo>
                    <a:pt x="1260" y="258"/>
                    <a:pt x="1266" y="253"/>
                    <a:pt x="1273" y="249"/>
                  </a:cubicBezTo>
                  <a:lnTo>
                    <a:pt x="1273" y="249"/>
                  </a:lnTo>
                  <a:cubicBezTo>
                    <a:pt x="1278" y="246"/>
                    <a:pt x="1283" y="242"/>
                    <a:pt x="1288" y="239"/>
                  </a:cubicBezTo>
                  <a:lnTo>
                    <a:pt x="1288" y="239"/>
                  </a:lnTo>
                  <a:cubicBezTo>
                    <a:pt x="1296" y="234"/>
                    <a:pt x="1303" y="229"/>
                    <a:pt x="1310" y="224"/>
                  </a:cubicBezTo>
                  <a:lnTo>
                    <a:pt x="1310" y="224"/>
                  </a:lnTo>
                  <a:cubicBezTo>
                    <a:pt x="1315" y="221"/>
                    <a:pt x="1319" y="219"/>
                    <a:pt x="1323" y="216"/>
                  </a:cubicBezTo>
                  <a:lnTo>
                    <a:pt x="1323" y="216"/>
                  </a:lnTo>
                  <a:cubicBezTo>
                    <a:pt x="1333" y="210"/>
                    <a:pt x="1343" y="204"/>
                    <a:pt x="1353" y="198"/>
                  </a:cubicBezTo>
                  <a:lnTo>
                    <a:pt x="1353" y="198"/>
                  </a:lnTo>
                  <a:cubicBezTo>
                    <a:pt x="1355" y="197"/>
                    <a:pt x="1357" y="195"/>
                    <a:pt x="1359" y="194"/>
                  </a:cubicBezTo>
                  <a:lnTo>
                    <a:pt x="1359" y="194"/>
                  </a:lnTo>
                  <a:cubicBezTo>
                    <a:pt x="1371" y="187"/>
                    <a:pt x="1383" y="179"/>
                    <a:pt x="1395" y="173"/>
                  </a:cubicBezTo>
                  <a:lnTo>
                    <a:pt x="1395" y="173"/>
                  </a:lnTo>
                  <a:cubicBezTo>
                    <a:pt x="1399" y="171"/>
                    <a:pt x="1402" y="169"/>
                    <a:pt x="1405" y="167"/>
                  </a:cubicBezTo>
                  <a:lnTo>
                    <a:pt x="1405" y="167"/>
                  </a:lnTo>
                  <a:cubicBezTo>
                    <a:pt x="1414" y="162"/>
                    <a:pt x="1423" y="158"/>
                    <a:pt x="1433" y="153"/>
                  </a:cubicBezTo>
                  <a:lnTo>
                    <a:pt x="1433" y="153"/>
                  </a:lnTo>
                  <a:cubicBezTo>
                    <a:pt x="1437" y="151"/>
                    <a:pt x="1441" y="148"/>
                    <a:pt x="1446" y="146"/>
                  </a:cubicBezTo>
                  <a:lnTo>
                    <a:pt x="1446" y="146"/>
                  </a:lnTo>
                  <a:cubicBezTo>
                    <a:pt x="1453" y="142"/>
                    <a:pt x="1462" y="138"/>
                    <a:pt x="1469" y="134"/>
                  </a:cubicBezTo>
                  <a:lnTo>
                    <a:pt x="1469" y="134"/>
                  </a:lnTo>
                  <a:cubicBezTo>
                    <a:pt x="1474" y="131"/>
                    <a:pt x="1480" y="130"/>
                    <a:pt x="1485" y="127"/>
                  </a:cubicBezTo>
                  <a:lnTo>
                    <a:pt x="1485" y="127"/>
                  </a:lnTo>
                  <a:cubicBezTo>
                    <a:pt x="1492" y="123"/>
                    <a:pt x="1499" y="120"/>
                    <a:pt x="1507" y="116"/>
                  </a:cubicBezTo>
                  <a:lnTo>
                    <a:pt x="1507" y="116"/>
                  </a:lnTo>
                  <a:cubicBezTo>
                    <a:pt x="1512" y="114"/>
                    <a:pt x="1518" y="111"/>
                    <a:pt x="1523" y="109"/>
                  </a:cubicBezTo>
                  <a:lnTo>
                    <a:pt x="1523" y="109"/>
                  </a:lnTo>
                  <a:cubicBezTo>
                    <a:pt x="1530" y="106"/>
                    <a:pt x="1538" y="102"/>
                    <a:pt x="1545" y="99"/>
                  </a:cubicBezTo>
                  <a:lnTo>
                    <a:pt x="1545" y="99"/>
                  </a:lnTo>
                  <a:cubicBezTo>
                    <a:pt x="1551" y="97"/>
                    <a:pt x="1556" y="95"/>
                    <a:pt x="1561" y="92"/>
                  </a:cubicBezTo>
                  <a:lnTo>
                    <a:pt x="1561" y="92"/>
                  </a:lnTo>
                  <a:cubicBezTo>
                    <a:pt x="1568" y="89"/>
                    <a:pt x="1576" y="86"/>
                    <a:pt x="1583" y="84"/>
                  </a:cubicBezTo>
                  <a:lnTo>
                    <a:pt x="1583" y="84"/>
                  </a:lnTo>
                  <a:cubicBezTo>
                    <a:pt x="1589" y="81"/>
                    <a:pt x="1594" y="79"/>
                    <a:pt x="1600" y="77"/>
                  </a:cubicBezTo>
                  <a:lnTo>
                    <a:pt x="1600" y="77"/>
                  </a:lnTo>
                  <a:cubicBezTo>
                    <a:pt x="1607" y="74"/>
                    <a:pt x="1614" y="71"/>
                    <a:pt x="1622" y="69"/>
                  </a:cubicBezTo>
                  <a:lnTo>
                    <a:pt x="1622" y="69"/>
                  </a:lnTo>
                  <a:cubicBezTo>
                    <a:pt x="1627" y="67"/>
                    <a:pt x="1633" y="65"/>
                    <a:pt x="1638" y="63"/>
                  </a:cubicBezTo>
                  <a:lnTo>
                    <a:pt x="1638" y="63"/>
                  </a:lnTo>
                  <a:cubicBezTo>
                    <a:pt x="1646" y="60"/>
                    <a:pt x="1653" y="57"/>
                    <a:pt x="1661" y="55"/>
                  </a:cubicBezTo>
                  <a:lnTo>
                    <a:pt x="1661" y="55"/>
                  </a:lnTo>
                  <a:cubicBezTo>
                    <a:pt x="1666" y="53"/>
                    <a:pt x="1672" y="51"/>
                    <a:pt x="1677" y="49"/>
                  </a:cubicBezTo>
                  <a:lnTo>
                    <a:pt x="1677" y="49"/>
                  </a:lnTo>
                  <a:cubicBezTo>
                    <a:pt x="1685" y="47"/>
                    <a:pt x="1693" y="45"/>
                    <a:pt x="1700" y="43"/>
                  </a:cubicBezTo>
                  <a:lnTo>
                    <a:pt x="1700" y="43"/>
                  </a:lnTo>
                  <a:cubicBezTo>
                    <a:pt x="1705" y="41"/>
                    <a:pt x="1711" y="39"/>
                    <a:pt x="1716" y="37"/>
                  </a:cubicBezTo>
                  <a:lnTo>
                    <a:pt x="1716" y="37"/>
                  </a:lnTo>
                  <a:cubicBezTo>
                    <a:pt x="1725" y="35"/>
                    <a:pt x="1732" y="33"/>
                    <a:pt x="1740" y="31"/>
                  </a:cubicBezTo>
                  <a:lnTo>
                    <a:pt x="1740" y="31"/>
                  </a:lnTo>
                  <a:cubicBezTo>
                    <a:pt x="1745" y="29"/>
                    <a:pt x="1751" y="28"/>
                    <a:pt x="1756" y="27"/>
                  </a:cubicBezTo>
                  <a:lnTo>
                    <a:pt x="1756" y="27"/>
                  </a:lnTo>
                  <a:cubicBezTo>
                    <a:pt x="1764" y="24"/>
                    <a:pt x="1772" y="22"/>
                    <a:pt x="1780" y="21"/>
                  </a:cubicBezTo>
                  <a:lnTo>
                    <a:pt x="1780" y="21"/>
                  </a:lnTo>
                  <a:cubicBezTo>
                    <a:pt x="1785" y="19"/>
                    <a:pt x="1790" y="17"/>
                    <a:pt x="1796" y="16"/>
                  </a:cubicBezTo>
                  <a:lnTo>
                    <a:pt x="1796" y="16"/>
                  </a:lnTo>
                  <a:cubicBezTo>
                    <a:pt x="1805" y="15"/>
                    <a:pt x="1814" y="12"/>
                    <a:pt x="1823" y="11"/>
                  </a:cubicBezTo>
                  <a:lnTo>
                    <a:pt x="1823" y="11"/>
                  </a:lnTo>
                  <a:cubicBezTo>
                    <a:pt x="1827" y="10"/>
                    <a:pt x="1831" y="9"/>
                    <a:pt x="1836" y="8"/>
                  </a:cubicBezTo>
                  <a:lnTo>
                    <a:pt x="1836" y="8"/>
                  </a:lnTo>
                  <a:cubicBezTo>
                    <a:pt x="1849" y="5"/>
                    <a:pt x="1863" y="2"/>
                    <a:pt x="1876" y="0"/>
                  </a:cubicBezTo>
                  <a:lnTo>
                    <a:pt x="1501" y="65"/>
                  </a:lnTo>
                  <a:lnTo>
                    <a:pt x="1501" y="65"/>
                  </a:lnTo>
                  <a:cubicBezTo>
                    <a:pt x="1488" y="68"/>
                    <a:pt x="1474" y="70"/>
                    <a:pt x="1462" y="73"/>
                  </a:cubicBezTo>
                  <a:lnTo>
                    <a:pt x="1462" y="73"/>
                  </a:lnTo>
                  <a:cubicBezTo>
                    <a:pt x="1457" y="74"/>
                    <a:pt x="1453" y="75"/>
                    <a:pt x="1449" y="75"/>
                  </a:cubicBezTo>
                  <a:lnTo>
                    <a:pt x="1449" y="75"/>
                  </a:lnTo>
                  <a:cubicBezTo>
                    <a:pt x="1439" y="78"/>
                    <a:pt x="1431" y="79"/>
                    <a:pt x="1422" y="82"/>
                  </a:cubicBezTo>
                  <a:lnTo>
                    <a:pt x="1422" y="82"/>
                  </a:lnTo>
                  <a:cubicBezTo>
                    <a:pt x="1417" y="83"/>
                    <a:pt x="1412" y="84"/>
                    <a:pt x="1406" y="85"/>
                  </a:cubicBezTo>
                  <a:lnTo>
                    <a:pt x="1406" y="85"/>
                  </a:lnTo>
                  <a:cubicBezTo>
                    <a:pt x="1399" y="87"/>
                    <a:pt x="1391" y="89"/>
                    <a:pt x="1383" y="91"/>
                  </a:cubicBezTo>
                  <a:lnTo>
                    <a:pt x="1383" y="91"/>
                  </a:lnTo>
                  <a:cubicBezTo>
                    <a:pt x="1378" y="93"/>
                    <a:pt x="1372" y="94"/>
                    <a:pt x="1367" y="96"/>
                  </a:cubicBezTo>
                  <a:lnTo>
                    <a:pt x="1367" y="96"/>
                  </a:lnTo>
                  <a:cubicBezTo>
                    <a:pt x="1359" y="98"/>
                    <a:pt x="1352" y="100"/>
                    <a:pt x="1344" y="102"/>
                  </a:cubicBezTo>
                  <a:lnTo>
                    <a:pt x="1344" y="102"/>
                  </a:lnTo>
                  <a:cubicBezTo>
                    <a:pt x="1338" y="104"/>
                    <a:pt x="1333" y="105"/>
                    <a:pt x="1328" y="107"/>
                  </a:cubicBezTo>
                  <a:lnTo>
                    <a:pt x="1328" y="107"/>
                  </a:lnTo>
                  <a:cubicBezTo>
                    <a:pt x="1320" y="109"/>
                    <a:pt x="1313" y="112"/>
                    <a:pt x="1306" y="114"/>
                  </a:cubicBezTo>
                  <a:lnTo>
                    <a:pt x="1306" y="114"/>
                  </a:lnTo>
                  <a:cubicBezTo>
                    <a:pt x="1300" y="115"/>
                    <a:pt x="1295" y="117"/>
                    <a:pt x="1289" y="119"/>
                  </a:cubicBezTo>
                  <a:lnTo>
                    <a:pt x="1289" y="119"/>
                  </a:lnTo>
                  <a:cubicBezTo>
                    <a:pt x="1282" y="121"/>
                    <a:pt x="1274" y="124"/>
                    <a:pt x="1267" y="127"/>
                  </a:cubicBezTo>
                  <a:lnTo>
                    <a:pt x="1267" y="127"/>
                  </a:lnTo>
                  <a:cubicBezTo>
                    <a:pt x="1261" y="129"/>
                    <a:pt x="1256" y="131"/>
                    <a:pt x="1250" y="132"/>
                  </a:cubicBezTo>
                  <a:lnTo>
                    <a:pt x="1250" y="132"/>
                  </a:lnTo>
                  <a:cubicBezTo>
                    <a:pt x="1243" y="135"/>
                    <a:pt x="1236" y="138"/>
                    <a:pt x="1229" y="140"/>
                  </a:cubicBezTo>
                  <a:lnTo>
                    <a:pt x="1229" y="140"/>
                  </a:lnTo>
                  <a:cubicBezTo>
                    <a:pt x="1224" y="143"/>
                    <a:pt x="1218" y="145"/>
                    <a:pt x="1213" y="147"/>
                  </a:cubicBezTo>
                  <a:lnTo>
                    <a:pt x="1213" y="147"/>
                  </a:lnTo>
                  <a:cubicBezTo>
                    <a:pt x="1205" y="149"/>
                    <a:pt x="1198" y="153"/>
                    <a:pt x="1191" y="156"/>
                  </a:cubicBezTo>
                  <a:lnTo>
                    <a:pt x="1191" y="156"/>
                  </a:lnTo>
                  <a:cubicBezTo>
                    <a:pt x="1188" y="157"/>
                    <a:pt x="1184" y="158"/>
                    <a:pt x="1181" y="159"/>
                  </a:cubicBezTo>
                  <a:lnTo>
                    <a:pt x="1181" y="159"/>
                  </a:lnTo>
                  <a:cubicBezTo>
                    <a:pt x="1180" y="161"/>
                    <a:pt x="1177" y="161"/>
                    <a:pt x="1175" y="162"/>
                  </a:cubicBezTo>
                  <a:lnTo>
                    <a:pt x="1175" y="162"/>
                  </a:lnTo>
                  <a:cubicBezTo>
                    <a:pt x="1168" y="166"/>
                    <a:pt x="1161" y="169"/>
                    <a:pt x="1153" y="172"/>
                  </a:cubicBezTo>
                  <a:lnTo>
                    <a:pt x="1153" y="172"/>
                  </a:lnTo>
                  <a:cubicBezTo>
                    <a:pt x="1148" y="174"/>
                    <a:pt x="1143" y="177"/>
                    <a:pt x="1138" y="179"/>
                  </a:cubicBezTo>
                  <a:lnTo>
                    <a:pt x="1138" y="179"/>
                  </a:lnTo>
                  <a:cubicBezTo>
                    <a:pt x="1130" y="182"/>
                    <a:pt x="1123" y="186"/>
                    <a:pt x="1115" y="189"/>
                  </a:cubicBezTo>
                  <a:lnTo>
                    <a:pt x="1115" y="189"/>
                  </a:lnTo>
                  <a:cubicBezTo>
                    <a:pt x="1111" y="192"/>
                    <a:pt x="1106" y="194"/>
                    <a:pt x="1101" y="196"/>
                  </a:cubicBezTo>
                  <a:lnTo>
                    <a:pt x="1101" y="196"/>
                  </a:lnTo>
                  <a:cubicBezTo>
                    <a:pt x="1093" y="200"/>
                    <a:pt x="1085" y="204"/>
                    <a:pt x="1077" y="208"/>
                  </a:cubicBezTo>
                  <a:lnTo>
                    <a:pt x="1077" y="208"/>
                  </a:lnTo>
                  <a:cubicBezTo>
                    <a:pt x="1073" y="210"/>
                    <a:pt x="1069" y="212"/>
                    <a:pt x="1064" y="214"/>
                  </a:cubicBezTo>
                  <a:lnTo>
                    <a:pt x="1064" y="214"/>
                  </a:lnTo>
                  <a:cubicBezTo>
                    <a:pt x="1055" y="219"/>
                    <a:pt x="1046" y="224"/>
                    <a:pt x="1038" y="229"/>
                  </a:cubicBezTo>
                  <a:lnTo>
                    <a:pt x="1038" y="229"/>
                  </a:lnTo>
                  <a:cubicBezTo>
                    <a:pt x="1035" y="231"/>
                    <a:pt x="1031" y="232"/>
                    <a:pt x="1028" y="234"/>
                  </a:cubicBezTo>
                  <a:lnTo>
                    <a:pt x="1028" y="234"/>
                  </a:lnTo>
                  <a:cubicBezTo>
                    <a:pt x="1016" y="241"/>
                    <a:pt x="1004" y="247"/>
                    <a:pt x="992" y="255"/>
                  </a:cubicBezTo>
                  <a:lnTo>
                    <a:pt x="992" y="255"/>
                  </a:lnTo>
                  <a:cubicBezTo>
                    <a:pt x="990" y="256"/>
                    <a:pt x="987" y="257"/>
                    <a:pt x="985" y="258"/>
                  </a:cubicBezTo>
                  <a:lnTo>
                    <a:pt x="985" y="258"/>
                  </a:lnTo>
                  <a:cubicBezTo>
                    <a:pt x="976" y="264"/>
                    <a:pt x="966" y="270"/>
                    <a:pt x="957" y="276"/>
                  </a:cubicBezTo>
                  <a:lnTo>
                    <a:pt x="957" y="276"/>
                  </a:lnTo>
                  <a:cubicBezTo>
                    <a:pt x="953" y="279"/>
                    <a:pt x="948" y="281"/>
                    <a:pt x="944" y="284"/>
                  </a:cubicBezTo>
                  <a:lnTo>
                    <a:pt x="944" y="284"/>
                  </a:lnTo>
                  <a:cubicBezTo>
                    <a:pt x="938" y="288"/>
                    <a:pt x="932" y="292"/>
                    <a:pt x="925" y="296"/>
                  </a:cubicBezTo>
                  <a:lnTo>
                    <a:pt x="925" y="296"/>
                  </a:lnTo>
                  <a:cubicBezTo>
                    <a:pt x="924" y="297"/>
                    <a:pt x="923" y="298"/>
                    <a:pt x="922" y="298"/>
                  </a:cubicBezTo>
                  <a:lnTo>
                    <a:pt x="922" y="298"/>
                  </a:lnTo>
                  <a:cubicBezTo>
                    <a:pt x="917" y="301"/>
                    <a:pt x="912" y="305"/>
                    <a:pt x="907" y="308"/>
                  </a:cubicBezTo>
                  <a:lnTo>
                    <a:pt x="907" y="308"/>
                  </a:lnTo>
                  <a:cubicBezTo>
                    <a:pt x="901" y="313"/>
                    <a:pt x="894" y="317"/>
                    <a:pt x="887" y="322"/>
                  </a:cubicBezTo>
                  <a:lnTo>
                    <a:pt x="887" y="322"/>
                  </a:lnTo>
                  <a:cubicBezTo>
                    <a:pt x="886" y="323"/>
                    <a:pt x="885" y="324"/>
                    <a:pt x="883" y="325"/>
                  </a:cubicBezTo>
                  <a:lnTo>
                    <a:pt x="883" y="325"/>
                  </a:lnTo>
                  <a:cubicBezTo>
                    <a:pt x="880" y="327"/>
                    <a:pt x="876" y="329"/>
                    <a:pt x="872" y="332"/>
                  </a:cubicBezTo>
                  <a:lnTo>
                    <a:pt x="872" y="332"/>
                  </a:lnTo>
                  <a:cubicBezTo>
                    <a:pt x="866" y="337"/>
                    <a:pt x="860" y="342"/>
                    <a:pt x="853" y="346"/>
                  </a:cubicBezTo>
                  <a:lnTo>
                    <a:pt x="853" y="346"/>
                  </a:lnTo>
                  <a:cubicBezTo>
                    <a:pt x="848" y="350"/>
                    <a:pt x="843" y="354"/>
                    <a:pt x="838" y="357"/>
                  </a:cubicBezTo>
                  <a:lnTo>
                    <a:pt x="838" y="357"/>
                  </a:lnTo>
                  <a:cubicBezTo>
                    <a:pt x="831" y="362"/>
                    <a:pt x="825" y="367"/>
                    <a:pt x="819" y="372"/>
                  </a:cubicBezTo>
                  <a:lnTo>
                    <a:pt x="819" y="372"/>
                  </a:lnTo>
                  <a:cubicBezTo>
                    <a:pt x="814" y="376"/>
                    <a:pt x="809" y="379"/>
                    <a:pt x="804" y="383"/>
                  </a:cubicBezTo>
                  <a:lnTo>
                    <a:pt x="804" y="383"/>
                  </a:lnTo>
                  <a:cubicBezTo>
                    <a:pt x="798" y="388"/>
                    <a:pt x="792" y="394"/>
                    <a:pt x="785" y="399"/>
                  </a:cubicBezTo>
                  <a:lnTo>
                    <a:pt x="785" y="399"/>
                  </a:lnTo>
                  <a:cubicBezTo>
                    <a:pt x="781" y="402"/>
                    <a:pt x="776" y="406"/>
                    <a:pt x="771" y="410"/>
                  </a:cubicBezTo>
                  <a:lnTo>
                    <a:pt x="771" y="410"/>
                  </a:lnTo>
                  <a:cubicBezTo>
                    <a:pt x="765" y="415"/>
                    <a:pt x="758" y="420"/>
                    <a:pt x="752" y="426"/>
                  </a:cubicBezTo>
                  <a:lnTo>
                    <a:pt x="752" y="426"/>
                  </a:lnTo>
                  <a:cubicBezTo>
                    <a:pt x="748" y="430"/>
                    <a:pt x="743" y="434"/>
                    <a:pt x="739" y="438"/>
                  </a:cubicBezTo>
                  <a:lnTo>
                    <a:pt x="739" y="438"/>
                  </a:lnTo>
                  <a:cubicBezTo>
                    <a:pt x="732" y="443"/>
                    <a:pt x="726" y="449"/>
                    <a:pt x="720" y="454"/>
                  </a:cubicBezTo>
                  <a:lnTo>
                    <a:pt x="720" y="454"/>
                  </a:lnTo>
                  <a:cubicBezTo>
                    <a:pt x="715" y="458"/>
                    <a:pt x="710" y="462"/>
                    <a:pt x="706" y="466"/>
                  </a:cubicBezTo>
                  <a:lnTo>
                    <a:pt x="706" y="466"/>
                  </a:lnTo>
                  <a:cubicBezTo>
                    <a:pt x="699" y="472"/>
                    <a:pt x="693" y="478"/>
                    <a:pt x="687" y="484"/>
                  </a:cubicBezTo>
                  <a:lnTo>
                    <a:pt x="687" y="484"/>
                  </a:lnTo>
                  <a:cubicBezTo>
                    <a:pt x="683" y="488"/>
                    <a:pt x="679" y="492"/>
                    <a:pt x="674" y="496"/>
                  </a:cubicBezTo>
                  <a:lnTo>
                    <a:pt x="674" y="496"/>
                  </a:lnTo>
                  <a:cubicBezTo>
                    <a:pt x="668" y="502"/>
                    <a:pt x="662" y="509"/>
                    <a:pt x="655" y="515"/>
                  </a:cubicBezTo>
                  <a:lnTo>
                    <a:pt x="655" y="515"/>
                  </a:lnTo>
                  <a:cubicBezTo>
                    <a:pt x="651" y="518"/>
                    <a:pt x="647" y="522"/>
                    <a:pt x="643" y="526"/>
                  </a:cubicBezTo>
                  <a:lnTo>
                    <a:pt x="643" y="526"/>
                  </a:lnTo>
                  <a:cubicBezTo>
                    <a:pt x="636" y="533"/>
                    <a:pt x="630" y="540"/>
                    <a:pt x="623" y="547"/>
                  </a:cubicBezTo>
                  <a:lnTo>
                    <a:pt x="623" y="547"/>
                  </a:lnTo>
                  <a:cubicBezTo>
                    <a:pt x="620" y="550"/>
                    <a:pt x="617" y="552"/>
                    <a:pt x="614" y="556"/>
                  </a:cubicBezTo>
                  <a:lnTo>
                    <a:pt x="614" y="556"/>
                  </a:lnTo>
                  <a:lnTo>
                    <a:pt x="613" y="557"/>
                  </a:lnTo>
                  <a:lnTo>
                    <a:pt x="613" y="557"/>
                  </a:lnTo>
                  <a:cubicBezTo>
                    <a:pt x="604" y="567"/>
                    <a:pt x="595" y="576"/>
                    <a:pt x="587" y="585"/>
                  </a:cubicBezTo>
                  <a:lnTo>
                    <a:pt x="587" y="585"/>
                  </a:lnTo>
                  <a:cubicBezTo>
                    <a:pt x="586" y="586"/>
                    <a:pt x="584" y="588"/>
                    <a:pt x="583" y="589"/>
                  </a:cubicBezTo>
                  <a:lnTo>
                    <a:pt x="583" y="589"/>
                  </a:lnTo>
                  <a:cubicBezTo>
                    <a:pt x="573" y="600"/>
                    <a:pt x="563" y="611"/>
                    <a:pt x="553" y="623"/>
                  </a:cubicBezTo>
                  <a:lnTo>
                    <a:pt x="553" y="623"/>
                  </a:lnTo>
                  <a:cubicBezTo>
                    <a:pt x="551" y="625"/>
                    <a:pt x="548" y="628"/>
                    <a:pt x="547" y="630"/>
                  </a:cubicBezTo>
                  <a:lnTo>
                    <a:pt x="547" y="630"/>
                  </a:lnTo>
                  <a:cubicBezTo>
                    <a:pt x="539" y="639"/>
                    <a:pt x="531" y="648"/>
                    <a:pt x="525" y="657"/>
                  </a:cubicBezTo>
                  <a:lnTo>
                    <a:pt x="525" y="657"/>
                  </a:lnTo>
                  <a:cubicBezTo>
                    <a:pt x="521" y="661"/>
                    <a:pt x="517" y="665"/>
                    <a:pt x="514" y="670"/>
                  </a:cubicBezTo>
                  <a:lnTo>
                    <a:pt x="514" y="670"/>
                  </a:lnTo>
                  <a:cubicBezTo>
                    <a:pt x="508" y="676"/>
                    <a:pt x="502" y="683"/>
                    <a:pt x="496" y="691"/>
                  </a:cubicBezTo>
                  <a:lnTo>
                    <a:pt x="496" y="691"/>
                  </a:lnTo>
                  <a:cubicBezTo>
                    <a:pt x="492" y="696"/>
                    <a:pt x="488" y="701"/>
                    <a:pt x="485" y="706"/>
                  </a:cubicBezTo>
                  <a:lnTo>
                    <a:pt x="485" y="706"/>
                  </a:lnTo>
                  <a:cubicBezTo>
                    <a:pt x="479" y="713"/>
                    <a:pt x="474" y="719"/>
                    <a:pt x="468" y="726"/>
                  </a:cubicBezTo>
                  <a:lnTo>
                    <a:pt x="468" y="726"/>
                  </a:lnTo>
                  <a:cubicBezTo>
                    <a:pt x="464" y="732"/>
                    <a:pt x="461" y="737"/>
                    <a:pt x="457" y="742"/>
                  </a:cubicBezTo>
                  <a:lnTo>
                    <a:pt x="457" y="742"/>
                  </a:lnTo>
                  <a:cubicBezTo>
                    <a:pt x="453" y="746"/>
                    <a:pt x="450" y="751"/>
                    <a:pt x="447" y="756"/>
                  </a:cubicBezTo>
                  <a:lnTo>
                    <a:pt x="447" y="756"/>
                  </a:lnTo>
                  <a:cubicBezTo>
                    <a:pt x="445" y="758"/>
                    <a:pt x="443" y="761"/>
                    <a:pt x="441" y="763"/>
                  </a:cubicBezTo>
                  <a:lnTo>
                    <a:pt x="441" y="763"/>
                  </a:lnTo>
                  <a:cubicBezTo>
                    <a:pt x="438" y="768"/>
                    <a:pt x="434" y="774"/>
                    <a:pt x="430" y="780"/>
                  </a:cubicBezTo>
                  <a:lnTo>
                    <a:pt x="430" y="780"/>
                  </a:lnTo>
                  <a:cubicBezTo>
                    <a:pt x="425" y="786"/>
                    <a:pt x="420" y="793"/>
                    <a:pt x="415" y="800"/>
                  </a:cubicBezTo>
                  <a:lnTo>
                    <a:pt x="415" y="800"/>
                  </a:lnTo>
                  <a:cubicBezTo>
                    <a:pt x="411" y="806"/>
                    <a:pt x="407" y="811"/>
                    <a:pt x="403" y="817"/>
                  </a:cubicBezTo>
                  <a:lnTo>
                    <a:pt x="403" y="817"/>
                  </a:lnTo>
                  <a:cubicBezTo>
                    <a:pt x="399" y="824"/>
                    <a:pt x="394" y="831"/>
                    <a:pt x="389" y="838"/>
                  </a:cubicBezTo>
                  <a:lnTo>
                    <a:pt x="389" y="838"/>
                  </a:lnTo>
                  <a:cubicBezTo>
                    <a:pt x="387" y="841"/>
                    <a:pt x="385" y="844"/>
                    <a:pt x="383" y="847"/>
                  </a:cubicBezTo>
                  <a:lnTo>
                    <a:pt x="383" y="847"/>
                  </a:lnTo>
                  <a:cubicBezTo>
                    <a:pt x="382" y="849"/>
                    <a:pt x="382" y="850"/>
                    <a:pt x="380" y="852"/>
                  </a:cubicBezTo>
                  <a:lnTo>
                    <a:pt x="380" y="852"/>
                  </a:lnTo>
                  <a:cubicBezTo>
                    <a:pt x="367" y="871"/>
                    <a:pt x="355" y="891"/>
                    <a:pt x="343" y="911"/>
                  </a:cubicBezTo>
                  <a:lnTo>
                    <a:pt x="343" y="911"/>
                  </a:lnTo>
                  <a:cubicBezTo>
                    <a:pt x="341" y="914"/>
                    <a:pt x="339" y="917"/>
                    <a:pt x="337" y="920"/>
                  </a:cubicBezTo>
                  <a:lnTo>
                    <a:pt x="337" y="920"/>
                  </a:lnTo>
                  <a:cubicBezTo>
                    <a:pt x="325" y="941"/>
                    <a:pt x="313" y="962"/>
                    <a:pt x="301" y="983"/>
                  </a:cubicBezTo>
                  <a:lnTo>
                    <a:pt x="301" y="983"/>
                  </a:lnTo>
                  <a:cubicBezTo>
                    <a:pt x="301" y="984"/>
                    <a:pt x="301" y="984"/>
                    <a:pt x="300" y="985"/>
                  </a:cubicBezTo>
                  <a:lnTo>
                    <a:pt x="300" y="985"/>
                  </a:lnTo>
                  <a:cubicBezTo>
                    <a:pt x="299" y="986"/>
                    <a:pt x="299" y="987"/>
                    <a:pt x="298" y="988"/>
                  </a:cubicBezTo>
                  <a:lnTo>
                    <a:pt x="298" y="988"/>
                  </a:lnTo>
                  <a:cubicBezTo>
                    <a:pt x="286" y="1010"/>
                    <a:pt x="274" y="1033"/>
                    <a:pt x="263" y="1055"/>
                  </a:cubicBezTo>
                  <a:lnTo>
                    <a:pt x="263" y="1055"/>
                  </a:lnTo>
                  <a:cubicBezTo>
                    <a:pt x="262" y="1056"/>
                    <a:pt x="262" y="1057"/>
                    <a:pt x="262" y="1058"/>
                  </a:cubicBezTo>
                  <a:lnTo>
                    <a:pt x="262" y="1058"/>
                  </a:lnTo>
                  <a:cubicBezTo>
                    <a:pt x="250" y="1080"/>
                    <a:pt x="239" y="1102"/>
                    <a:pt x="228" y="1126"/>
                  </a:cubicBezTo>
                  <a:lnTo>
                    <a:pt x="228" y="1126"/>
                  </a:lnTo>
                  <a:cubicBezTo>
                    <a:pt x="227" y="1127"/>
                    <a:pt x="227" y="1129"/>
                    <a:pt x="226" y="1131"/>
                  </a:cubicBezTo>
                  <a:lnTo>
                    <a:pt x="226" y="1131"/>
                  </a:lnTo>
                  <a:cubicBezTo>
                    <a:pt x="226" y="1132"/>
                    <a:pt x="225" y="1133"/>
                    <a:pt x="224" y="1134"/>
                  </a:cubicBezTo>
                  <a:lnTo>
                    <a:pt x="224" y="1134"/>
                  </a:lnTo>
                  <a:cubicBezTo>
                    <a:pt x="214" y="1156"/>
                    <a:pt x="204" y="1179"/>
                    <a:pt x="195" y="1201"/>
                  </a:cubicBezTo>
                  <a:lnTo>
                    <a:pt x="195" y="1201"/>
                  </a:lnTo>
                  <a:cubicBezTo>
                    <a:pt x="193" y="1205"/>
                    <a:pt x="192" y="1209"/>
                    <a:pt x="190" y="1212"/>
                  </a:cubicBezTo>
                  <a:lnTo>
                    <a:pt x="190" y="1212"/>
                  </a:lnTo>
                  <a:cubicBezTo>
                    <a:pt x="181" y="1235"/>
                    <a:pt x="172" y="1258"/>
                    <a:pt x="163" y="1281"/>
                  </a:cubicBezTo>
                  <a:lnTo>
                    <a:pt x="163" y="1281"/>
                  </a:lnTo>
                  <a:cubicBezTo>
                    <a:pt x="162" y="1282"/>
                    <a:pt x="161" y="1284"/>
                    <a:pt x="161" y="1285"/>
                  </a:cubicBezTo>
                  <a:lnTo>
                    <a:pt x="161" y="1285"/>
                  </a:lnTo>
                  <a:cubicBezTo>
                    <a:pt x="160" y="1288"/>
                    <a:pt x="159" y="1290"/>
                    <a:pt x="159" y="1292"/>
                  </a:cubicBezTo>
                  <a:lnTo>
                    <a:pt x="159" y="1292"/>
                  </a:lnTo>
                  <a:cubicBezTo>
                    <a:pt x="150" y="1315"/>
                    <a:pt x="141" y="1339"/>
                    <a:pt x="133" y="1363"/>
                  </a:cubicBezTo>
                  <a:lnTo>
                    <a:pt x="133" y="1363"/>
                  </a:lnTo>
                  <a:cubicBezTo>
                    <a:pt x="132" y="1366"/>
                    <a:pt x="131" y="1368"/>
                    <a:pt x="131" y="1371"/>
                  </a:cubicBezTo>
                  <a:lnTo>
                    <a:pt x="131" y="1371"/>
                  </a:lnTo>
                  <a:cubicBezTo>
                    <a:pt x="127" y="1382"/>
                    <a:pt x="123" y="1392"/>
                    <a:pt x="120" y="1403"/>
                  </a:cubicBezTo>
                  <a:lnTo>
                    <a:pt x="120" y="1403"/>
                  </a:lnTo>
                  <a:cubicBezTo>
                    <a:pt x="115" y="1417"/>
                    <a:pt x="111" y="1431"/>
                    <a:pt x="107" y="1446"/>
                  </a:cubicBezTo>
                  <a:lnTo>
                    <a:pt x="107" y="1446"/>
                  </a:lnTo>
                  <a:cubicBezTo>
                    <a:pt x="106" y="1446"/>
                    <a:pt x="106" y="1447"/>
                    <a:pt x="106" y="1447"/>
                  </a:cubicBezTo>
                  <a:lnTo>
                    <a:pt x="106" y="1447"/>
                  </a:lnTo>
                  <a:lnTo>
                    <a:pt x="106" y="1448"/>
                  </a:lnTo>
                  <a:lnTo>
                    <a:pt x="106" y="1448"/>
                  </a:lnTo>
                  <a:cubicBezTo>
                    <a:pt x="100" y="1470"/>
                    <a:pt x="93" y="1493"/>
                    <a:pt x="87" y="1515"/>
                  </a:cubicBezTo>
                  <a:lnTo>
                    <a:pt x="87" y="1515"/>
                  </a:lnTo>
                  <a:cubicBezTo>
                    <a:pt x="85" y="1520"/>
                    <a:pt x="84" y="1524"/>
                    <a:pt x="83" y="1529"/>
                  </a:cubicBezTo>
                  <a:lnTo>
                    <a:pt x="83" y="1529"/>
                  </a:lnTo>
                  <a:cubicBezTo>
                    <a:pt x="78" y="1551"/>
                    <a:pt x="72" y="1573"/>
                    <a:pt x="67" y="1596"/>
                  </a:cubicBezTo>
                  <a:lnTo>
                    <a:pt x="67" y="1596"/>
                  </a:lnTo>
                  <a:cubicBezTo>
                    <a:pt x="67" y="1597"/>
                    <a:pt x="66" y="1598"/>
                    <a:pt x="66" y="1600"/>
                  </a:cubicBezTo>
                  <a:lnTo>
                    <a:pt x="66" y="1600"/>
                  </a:lnTo>
                  <a:cubicBezTo>
                    <a:pt x="65" y="1602"/>
                    <a:pt x="65" y="1604"/>
                    <a:pt x="64" y="1607"/>
                  </a:cubicBezTo>
                  <a:lnTo>
                    <a:pt x="64" y="1607"/>
                  </a:lnTo>
                  <a:cubicBezTo>
                    <a:pt x="59" y="1629"/>
                    <a:pt x="54" y="1651"/>
                    <a:pt x="50" y="1673"/>
                  </a:cubicBezTo>
                  <a:lnTo>
                    <a:pt x="50" y="1673"/>
                  </a:lnTo>
                  <a:cubicBezTo>
                    <a:pt x="49" y="1676"/>
                    <a:pt x="49" y="1677"/>
                    <a:pt x="49" y="1680"/>
                  </a:cubicBezTo>
                  <a:lnTo>
                    <a:pt x="49" y="1680"/>
                  </a:lnTo>
                  <a:cubicBezTo>
                    <a:pt x="44" y="1703"/>
                    <a:pt x="39" y="1727"/>
                    <a:pt x="36" y="1751"/>
                  </a:cubicBezTo>
                  <a:lnTo>
                    <a:pt x="36" y="1751"/>
                  </a:lnTo>
                  <a:cubicBezTo>
                    <a:pt x="35" y="1752"/>
                    <a:pt x="35" y="1755"/>
                    <a:pt x="35" y="1757"/>
                  </a:cubicBezTo>
                  <a:lnTo>
                    <a:pt x="35" y="1757"/>
                  </a:lnTo>
                  <a:cubicBezTo>
                    <a:pt x="34" y="1759"/>
                    <a:pt x="34" y="1762"/>
                    <a:pt x="33" y="1764"/>
                  </a:cubicBezTo>
                  <a:lnTo>
                    <a:pt x="33" y="1764"/>
                  </a:lnTo>
                  <a:cubicBezTo>
                    <a:pt x="30" y="1788"/>
                    <a:pt x="26" y="1812"/>
                    <a:pt x="22" y="1836"/>
                  </a:cubicBezTo>
                  <a:lnTo>
                    <a:pt x="22" y="1836"/>
                  </a:lnTo>
                  <a:cubicBezTo>
                    <a:pt x="22" y="1838"/>
                    <a:pt x="22" y="1841"/>
                    <a:pt x="22" y="1843"/>
                  </a:cubicBezTo>
                  <a:lnTo>
                    <a:pt x="22" y="1843"/>
                  </a:lnTo>
                  <a:cubicBezTo>
                    <a:pt x="19" y="1866"/>
                    <a:pt x="16" y="1889"/>
                    <a:pt x="14" y="1912"/>
                  </a:cubicBezTo>
                  <a:lnTo>
                    <a:pt x="14" y="1912"/>
                  </a:lnTo>
                  <a:cubicBezTo>
                    <a:pt x="13" y="1914"/>
                    <a:pt x="13" y="1917"/>
                    <a:pt x="13" y="1919"/>
                  </a:cubicBezTo>
                  <a:lnTo>
                    <a:pt x="13" y="1919"/>
                  </a:lnTo>
                  <a:cubicBezTo>
                    <a:pt x="13" y="1920"/>
                    <a:pt x="13" y="1921"/>
                    <a:pt x="13" y="1923"/>
                  </a:cubicBezTo>
                  <a:lnTo>
                    <a:pt x="13" y="1923"/>
                  </a:lnTo>
                  <a:cubicBezTo>
                    <a:pt x="10" y="1946"/>
                    <a:pt x="9" y="1971"/>
                    <a:pt x="6" y="1995"/>
                  </a:cubicBezTo>
                  <a:lnTo>
                    <a:pt x="6" y="1995"/>
                  </a:lnTo>
                  <a:cubicBezTo>
                    <a:pt x="6" y="1999"/>
                    <a:pt x="6" y="2004"/>
                    <a:pt x="5" y="2009"/>
                  </a:cubicBezTo>
                  <a:lnTo>
                    <a:pt x="5" y="2009"/>
                  </a:lnTo>
                  <a:cubicBezTo>
                    <a:pt x="4" y="2034"/>
                    <a:pt x="2" y="2059"/>
                    <a:pt x="2" y="2084"/>
                  </a:cubicBezTo>
                  <a:lnTo>
                    <a:pt x="2" y="2084"/>
                  </a:lnTo>
                  <a:lnTo>
                    <a:pt x="2" y="2085"/>
                  </a:lnTo>
                  <a:lnTo>
                    <a:pt x="2" y="2085"/>
                  </a:lnTo>
                  <a:cubicBezTo>
                    <a:pt x="1" y="2093"/>
                    <a:pt x="1" y="2101"/>
                    <a:pt x="0" y="2110"/>
                  </a:cubicBezTo>
                  <a:lnTo>
                    <a:pt x="0" y="2110"/>
                  </a:lnTo>
                  <a:cubicBezTo>
                    <a:pt x="0" y="2117"/>
                    <a:pt x="0" y="2125"/>
                    <a:pt x="0" y="2132"/>
                  </a:cubicBezTo>
                  <a:lnTo>
                    <a:pt x="0" y="2132"/>
                  </a:lnTo>
                  <a:cubicBezTo>
                    <a:pt x="0" y="2133"/>
                    <a:pt x="0" y="2133"/>
                    <a:pt x="0" y="2134"/>
                  </a:cubicBezTo>
                  <a:lnTo>
                    <a:pt x="0" y="2134"/>
                  </a:lnTo>
                  <a:lnTo>
                    <a:pt x="0" y="2135"/>
                  </a:lnTo>
                  <a:lnTo>
                    <a:pt x="0" y="2135"/>
                  </a:lnTo>
                  <a:cubicBezTo>
                    <a:pt x="0" y="2143"/>
                    <a:pt x="0" y="2151"/>
                    <a:pt x="0" y="2160"/>
                  </a:cubicBezTo>
                  <a:lnTo>
                    <a:pt x="0" y="2160"/>
                  </a:lnTo>
                  <a:cubicBezTo>
                    <a:pt x="0" y="2168"/>
                    <a:pt x="0" y="2176"/>
                    <a:pt x="0" y="2185"/>
                  </a:cubicBezTo>
                  <a:lnTo>
                    <a:pt x="0" y="2185"/>
                  </a:lnTo>
                  <a:cubicBezTo>
                    <a:pt x="0" y="2461"/>
                    <a:pt x="42" y="2724"/>
                    <a:pt x="120" y="2967"/>
                  </a:cubicBezTo>
                  <a:lnTo>
                    <a:pt x="120" y="2967"/>
                  </a:lnTo>
                  <a:cubicBezTo>
                    <a:pt x="197" y="3206"/>
                    <a:pt x="309" y="3425"/>
                    <a:pt x="447" y="3614"/>
                  </a:cubicBezTo>
                  <a:lnTo>
                    <a:pt x="447" y="3614"/>
                  </a:lnTo>
                  <a:cubicBezTo>
                    <a:pt x="583" y="3800"/>
                    <a:pt x="745" y="3955"/>
                    <a:pt x="925" y="4073"/>
                  </a:cubicBezTo>
                  <a:lnTo>
                    <a:pt x="925" y="4073"/>
                  </a:lnTo>
                  <a:cubicBezTo>
                    <a:pt x="1103" y="4189"/>
                    <a:pt x="1297" y="4268"/>
                    <a:pt x="1501" y="4303"/>
                  </a:cubicBezTo>
                  <a:lnTo>
                    <a:pt x="1876" y="4369"/>
                  </a:lnTo>
                  <a:lnTo>
                    <a:pt x="1876" y="4369"/>
                  </a:lnTo>
                  <a:cubicBezTo>
                    <a:pt x="1669" y="4333"/>
                    <a:pt x="1472" y="4251"/>
                    <a:pt x="1291" y="4132"/>
                  </a:cubicBezTo>
                </a:path>
              </a:pathLst>
            </a:custGeom>
            <a:solidFill>
              <a:schemeClr val="accent6"/>
            </a:solidFill>
            <a:ln>
              <a:noFill/>
            </a:ln>
            <a:effectLst/>
          </p:spPr>
          <p:txBody>
            <a:bodyPr wrap="none" anchor="ctr"/>
            <a:lstStyle/>
            <a:p>
              <a:endParaRPr lang="en-US" dirty="0">
                <a:latin typeface="Poppins" pitchFamily="2" charset="77"/>
              </a:endParaRPr>
            </a:p>
          </p:txBody>
        </p:sp>
        <p:sp>
          <p:nvSpPr>
            <p:cNvPr id="25" name="Freeform 29">
              <a:extLst>
                <a:ext uri="{FF2B5EF4-FFF2-40B4-BE49-F238E27FC236}">
                  <a16:creationId xmlns:a16="http://schemas.microsoft.com/office/drawing/2014/main" id="{8F864987-AE5B-AFD1-A0D9-171D1D8AA83E}"/>
                </a:ext>
              </a:extLst>
            </p:cNvPr>
            <p:cNvSpPr>
              <a:spLocks noChangeArrowheads="1"/>
            </p:cNvSpPr>
            <p:nvPr/>
          </p:nvSpPr>
          <p:spPr bwMode="auto">
            <a:xfrm>
              <a:off x="2526377" y="3631066"/>
              <a:ext cx="2482664" cy="5775396"/>
            </a:xfrm>
            <a:custGeom>
              <a:avLst/>
              <a:gdLst>
                <a:gd name="T0" fmla="*/ 349 w 1877"/>
                <a:gd name="T1" fmla="*/ 2185 h 4370"/>
                <a:gd name="T2" fmla="*/ 351 w 1877"/>
                <a:gd name="T3" fmla="*/ 2080 h 4370"/>
                <a:gd name="T4" fmla="*/ 364 w 1877"/>
                <a:gd name="T5" fmla="*/ 1903 h 4370"/>
                <a:gd name="T6" fmla="*/ 383 w 1877"/>
                <a:gd name="T7" fmla="*/ 1750 h 4370"/>
                <a:gd name="T8" fmla="*/ 415 w 1877"/>
                <a:gd name="T9" fmla="*/ 1588 h 4370"/>
                <a:gd name="T10" fmla="*/ 438 w 1877"/>
                <a:gd name="T11" fmla="*/ 1493 h 4370"/>
                <a:gd name="T12" fmla="*/ 485 w 1877"/>
                <a:gd name="T13" fmla="*/ 1337 h 4370"/>
                <a:gd name="T14" fmla="*/ 543 w 1877"/>
                <a:gd name="T15" fmla="*/ 1181 h 4370"/>
                <a:gd name="T16" fmla="*/ 616 w 1877"/>
                <a:gd name="T17" fmla="*/ 1021 h 4370"/>
                <a:gd name="T18" fmla="*/ 656 w 1877"/>
                <a:gd name="T19" fmla="*/ 945 h 4370"/>
                <a:gd name="T20" fmla="*/ 746 w 1877"/>
                <a:gd name="T21" fmla="*/ 795 h 4370"/>
                <a:gd name="T22" fmla="*/ 787 w 1877"/>
                <a:gd name="T23" fmla="*/ 734 h 4370"/>
                <a:gd name="T24" fmla="*/ 843 w 1877"/>
                <a:gd name="T25" fmla="*/ 658 h 4370"/>
                <a:gd name="T26" fmla="*/ 883 w 1877"/>
                <a:gd name="T27" fmla="*/ 608 h 4370"/>
                <a:gd name="T28" fmla="*/ 947 w 1877"/>
                <a:gd name="T29" fmla="*/ 534 h 4370"/>
                <a:gd name="T30" fmla="*/ 1004 w 1877"/>
                <a:gd name="T31" fmla="*/ 473 h 4370"/>
                <a:gd name="T32" fmla="*/ 1068 w 1877"/>
                <a:gd name="T33" fmla="*/ 411 h 4370"/>
                <a:gd name="T34" fmla="*/ 1115 w 1877"/>
                <a:gd name="T35" fmla="*/ 370 h 4370"/>
                <a:gd name="T36" fmla="*/ 1183 w 1877"/>
                <a:gd name="T37" fmla="*/ 315 h 4370"/>
                <a:gd name="T38" fmla="*/ 1238 w 1877"/>
                <a:gd name="T39" fmla="*/ 274 h 4370"/>
                <a:gd name="T40" fmla="*/ 1310 w 1877"/>
                <a:gd name="T41" fmla="*/ 224 h 4370"/>
                <a:gd name="T42" fmla="*/ 1359 w 1877"/>
                <a:gd name="T43" fmla="*/ 194 h 4370"/>
                <a:gd name="T44" fmla="*/ 1446 w 1877"/>
                <a:gd name="T45" fmla="*/ 146 h 4370"/>
                <a:gd name="T46" fmla="*/ 1507 w 1877"/>
                <a:gd name="T47" fmla="*/ 116 h 4370"/>
                <a:gd name="T48" fmla="*/ 1583 w 1877"/>
                <a:gd name="T49" fmla="*/ 84 h 4370"/>
                <a:gd name="T50" fmla="*/ 1638 w 1877"/>
                <a:gd name="T51" fmla="*/ 63 h 4370"/>
                <a:gd name="T52" fmla="*/ 1716 w 1877"/>
                <a:gd name="T53" fmla="*/ 37 h 4370"/>
                <a:gd name="T54" fmla="*/ 1780 w 1877"/>
                <a:gd name="T55" fmla="*/ 21 h 4370"/>
                <a:gd name="T56" fmla="*/ 1876 w 1877"/>
                <a:gd name="T57" fmla="*/ 0 h 4370"/>
                <a:gd name="T58" fmla="*/ 1422 w 1877"/>
                <a:gd name="T59" fmla="*/ 82 h 4370"/>
                <a:gd name="T60" fmla="*/ 1367 w 1877"/>
                <a:gd name="T61" fmla="*/ 96 h 4370"/>
                <a:gd name="T62" fmla="*/ 1289 w 1877"/>
                <a:gd name="T63" fmla="*/ 119 h 4370"/>
                <a:gd name="T64" fmla="*/ 1229 w 1877"/>
                <a:gd name="T65" fmla="*/ 140 h 4370"/>
                <a:gd name="T66" fmla="*/ 1175 w 1877"/>
                <a:gd name="T67" fmla="*/ 162 h 4370"/>
                <a:gd name="T68" fmla="*/ 1115 w 1877"/>
                <a:gd name="T69" fmla="*/ 189 h 4370"/>
                <a:gd name="T70" fmla="*/ 1038 w 1877"/>
                <a:gd name="T71" fmla="*/ 229 h 4370"/>
                <a:gd name="T72" fmla="*/ 985 w 1877"/>
                <a:gd name="T73" fmla="*/ 258 h 4370"/>
                <a:gd name="T74" fmla="*/ 922 w 1877"/>
                <a:gd name="T75" fmla="*/ 298 h 4370"/>
                <a:gd name="T76" fmla="*/ 883 w 1877"/>
                <a:gd name="T77" fmla="*/ 325 h 4370"/>
                <a:gd name="T78" fmla="*/ 819 w 1877"/>
                <a:gd name="T79" fmla="*/ 372 h 4370"/>
                <a:gd name="T80" fmla="*/ 771 w 1877"/>
                <a:gd name="T81" fmla="*/ 410 h 4370"/>
                <a:gd name="T82" fmla="*/ 706 w 1877"/>
                <a:gd name="T83" fmla="*/ 466 h 4370"/>
                <a:gd name="T84" fmla="*/ 655 w 1877"/>
                <a:gd name="T85" fmla="*/ 515 h 4370"/>
                <a:gd name="T86" fmla="*/ 613 w 1877"/>
                <a:gd name="T87" fmla="*/ 557 h 4370"/>
                <a:gd name="T88" fmla="*/ 553 w 1877"/>
                <a:gd name="T89" fmla="*/ 623 h 4370"/>
                <a:gd name="T90" fmla="*/ 496 w 1877"/>
                <a:gd name="T91" fmla="*/ 691 h 4370"/>
                <a:gd name="T92" fmla="*/ 457 w 1877"/>
                <a:gd name="T93" fmla="*/ 742 h 4370"/>
                <a:gd name="T94" fmla="*/ 415 w 1877"/>
                <a:gd name="T95" fmla="*/ 800 h 4370"/>
                <a:gd name="T96" fmla="*/ 383 w 1877"/>
                <a:gd name="T97" fmla="*/ 847 h 4370"/>
                <a:gd name="T98" fmla="*/ 301 w 1877"/>
                <a:gd name="T99" fmla="*/ 983 h 4370"/>
                <a:gd name="T100" fmla="*/ 263 w 1877"/>
                <a:gd name="T101" fmla="*/ 1055 h 4370"/>
                <a:gd name="T102" fmla="*/ 224 w 1877"/>
                <a:gd name="T103" fmla="*/ 1134 h 4370"/>
                <a:gd name="T104" fmla="*/ 163 w 1877"/>
                <a:gd name="T105" fmla="*/ 1281 h 4370"/>
                <a:gd name="T106" fmla="*/ 131 w 1877"/>
                <a:gd name="T107" fmla="*/ 1371 h 4370"/>
                <a:gd name="T108" fmla="*/ 106 w 1877"/>
                <a:gd name="T109" fmla="*/ 1447 h 4370"/>
                <a:gd name="T110" fmla="*/ 67 w 1877"/>
                <a:gd name="T111" fmla="*/ 1596 h 4370"/>
                <a:gd name="T112" fmla="*/ 50 w 1877"/>
                <a:gd name="T113" fmla="*/ 1673 h 4370"/>
                <a:gd name="T114" fmla="*/ 33 w 1877"/>
                <a:gd name="T115" fmla="*/ 1764 h 4370"/>
                <a:gd name="T116" fmla="*/ 14 w 1877"/>
                <a:gd name="T117" fmla="*/ 1912 h 4370"/>
                <a:gd name="T118" fmla="*/ 5 w 1877"/>
                <a:gd name="T119" fmla="*/ 2009 h 4370"/>
                <a:gd name="T120" fmla="*/ 0 w 1877"/>
                <a:gd name="T121" fmla="*/ 2110 h 4370"/>
                <a:gd name="T122" fmla="*/ 0 w 1877"/>
                <a:gd name="T123" fmla="*/ 2160 h 4370"/>
                <a:gd name="T124" fmla="*/ 447 w 1877"/>
                <a:gd name="T125" fmla="*/ 3614 h 4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7" h="4370">
                  <a:moveTo>
                    <a:pt x="1291" y="4132"/>
                  </a:moveTo>
                  <a:lnTo>
                    <a:pt x="1291" y="4132"/>
                  </a:lnTo>
                  <a:cubicBezTo>
                    <a:pt x="1109" y="4011"/>
                    <a:pt x="944" y="3851"/>
                    <a:pt x="805" y="3659"/>
                  </a:cubicBezTo>
                  <a:lnTo>
                    <a:pt x="805" y="3659"/>
                  </a:lnTo>
                  <a:cubicBezTo>
                    <a:pt x="664" y="3466"/>
                    <a:pt x="550" y="3240"/>
                    <a:pt x="471" y="2992"/>
                  </a:cubicBezTo>
                  <a:lnTo>
                    <a:pt x="471" y="2992"/>
                  </a:lnTo>
                  <a:cubicBezTo>
                    <a:pt x="393" y="2742"/>
                    <a:pt x="349" y="2470"/>
                    <a:pt x="349" y="2185"/>
                  </a:cubicBezTo>
                  <a:lnTo>
                    <a:pt x="349" y="2185"/>
                  </a:lnTo>
                  <a:cubicBezTo>
                    <a:pt x="349" y="2167"/>
                    <a:pt x="349" y="2150"/>
                    <a:pt x="350" y="2132"/>
                  </a:cubicBezTo>
                  <a:lnTo>
                    <a:pt x="350" y="2132"/>
                  </a:lnTo>
                  <a:cubicBezTo>
                    <a:pt x="350" y="2132"/>
                    <a:pt x="350" y="2131"/>
                    <a:pt x="350" y="2130"/>
                  </a:cubicBezTo>
                  <a:lnTo>
                    <a:pt x="350" y="2130"/>
                  </a:lnTo>
                  <a:cubicBezTo>
                    <a:pt x="350" y="2114"/>
                    <a:pt x="350" y="2097"/>
                    <a:pt x="351" y="2080"/>
                  </a:cubicBezTo>
                  <a:lnTo>
                    <a:pt x="351" y="2080"/>
                  </a:lnTo>
                  <a:cubicBezTo>
                    <a:pt x="352" y="2055"/>
                    <a:pt x="353" y="2029"/>
                    <a:pt x="355" y="2004"/>
                  </a:cubicBezTo>
                  <a:lnTo>
                    <a:pt x="355" y="2004"/>
                  </a:lnTo>
                  <a:cubicBezTo>
                    <a:pt x="355" y="1999"/>
                    <a:pt x="356" y="1993"/>
                    <a:pt x="356" y="1988"/>
                  </a:cubicBezTo>
                  <a:lnTo>
                    <a:pt x="356" y="1988"/>
                  </a:lnTo>
                  <a:cubicBezTo>
                    <a:pt x="358" y="1964"/>
                    <a:pt x="360" y="1939"/>
                    <a:pt x="362" y="1914"/>
                  </a:cubicBezTo>
                  <a:lnTo>
                    <a:pt x="362" y="1914"/>
                  </a:lnTo>
                  <a:cubicBezTo>
                    <a:pt x="362" y="1910"/>
                    <a:pt x="363" y="1907"/>
                    <a:pt x="364" y="1903"/>
                  </a:cubicBezTo>
                  <a:lnTo>
                    <a:pt x="364" y="1903"/>
                  </a:lnTo>
                  <a:cubicBezTo>
                    <a:pt x="366" y="1879"/>
                    <a:pt x="369" y="1855"/>
                    <a:pt x="372" y="1831"/>
                  </a:cubicBezTo>
                  <a:lnTo>
                    <a:pt x="372" y="1831"/>
                  </a:lnTo>
                  <a:cubicBezTo>
                    <a:pt x="372" y="1829"/>
                    <a:pt x="372" y="1826"/>
                    <a:pt x="373" y="1824"/>
                  </a:cubicBezTo>
                  <a:lnTo>
                    <a:pt x="373" y="1824"/>
                  </a:lnTo>
                  <a:cubicBezTo>
                    <a:pt x="376" y="1799"/>
                    <a:pt x="380" y="1774"/>
                    <a:pt x="383" y="1750"/>
                  </a:cubicBezTo>
                  <a:lnTo>
                    <a:pt x="383" y="1750"/>
                  </a:lnTo>
                  <a:cubicBezTo>
                    <a:pt x="384" y="1746"/>
                    <a:pt x="385" y="1741"/>
                    <a:pt x="386" y="1736"/>
                  </a:cubicBezTo>
                  <a:lnTo>
                    <a:pt x="386" y="1736"/>
                  </a:lnTo>
                  <a:cubicBezTo>
                    <a:pt x="390" y="1711"/>
                    <a:pt x="394" y="1688"/>
                    <a:pt x="399" y="1663"/>
                  </a:cubicBezTo>
                  <a:lnTo>
                    <a:pt x="399" y="1663"/>
                  </a:lnTo>
                  <a:cubicBezTo>
                    <a:pt x="399" y="1661"/>
                    <a:pt x="400" y="1658"/>
                    <a:pt x="400" y="1656"/>
                  </a:cubicBezTo>
                  <a:lnTo>
                    <a:pt x="400" y="1656"/>
                  </a:lnTo>
                  <a:cubicBezTo>
                    <a:pt x="405" y="1633"/>
                    <a:pt x="410" y="1611"/>
                    <a:pt x="415" y="1588"/>
                  </a:cubicBezTo>
                  <a:lnTo>
                    <a:pt x="415" y="1588"/>
                  </a:lnTo>
                  <a:cubicBezTo>
                    <a:pt x="416" y="1584"/>
                    <a:pt x="416" y="1581"/>
                    <a:pt x="418" y="1577"/>
                  </a:cubicBezTo>
                  <a:lnTo>
                    <a:pt x="418" y="1577"/>
                  </a:lnTo>
                  <a:cubicBezTo>
                    <a:pt x="422" y="1554"/>
                    <a:pt x="429" y="1531"/>
                    <a:pt x="434" y="1507"/>
                  </a:cubicBezTo>
                  <a:lnTo>
                    <a:pt x="434" y="1507"/>
                  </a:lnTo>
                  <a:cubicBezTo>
                    <a:pt x="435" y="1503"/>
                    <a:pt x="437" y="1498"/>
                    <a:pt x="438" y="1493"/>
                  </a:cubicBezTo>
                  <a:lnTo>
                    <a:pt x="438" y="1493"/>
                  </a:lnTo>
                  <a:cubicBezTo>
                    <a:pt x="445" y="1470"/>
                    <a:pt x="451" y="1447"/>
                    <a:pt x="457" y="1424"/>
                  </a:cubicBezTo>
                  <a:lnTo>
                    <a:pt x="457" y="1424"/>
                  </a:lnTo>
                  <a:cubicBezTo>
                    <a:pt x="458" y="1423"/>
                    <a:pt x="458" y="1422"/>
                    <a:pt x="458" y="1422"/>
                  </a:cubicBezTo>
                  <a:lnTo>
                    <a:pt x="458" y="1422"/>
                  </a:lnTo>
                  <a:cubicBezTo>
                    <a:pt x="466" y="1395"/>
                    <a:pt x="474" y="1370"/>
                    <a:pt x="482" y="1344"/>
                  </a:cubicBezTo>
                  <a:lnTo>
                    <a:pt x="482" y="1344"/>
                  </a:lnTo>
                  <a:cubicBezTo>
                    <a:pt x="484" y="1342"/>
                    <a:pt x="484" y="1339"/>
                    <a:pt x="485" y="1337"/>
                  </a:cubicBezTo>
                  <a:lnTo>
                    <a:pt x="485" y="1337"/>
                  </a:lnTo>
                  <a:cubicBezTo>
                    <a:pt x="493" y="1312"/>
                    <a:pt x="502" y="1287"/>
                    <a:pt x="511" y="1263"/>
                  </a:cubicBezTo>
                  <a:lnTo>
                    <a:pt x="511" y="1263"/>
                  </a:lnTo>
                  <a:cubicBezTo>
                    <a:pt x="512" y="1259"/>
                    <a:pt x="514" y="1255"/>
                    <a:pt x="515" y="1252"/>
                  </a:cubicBezTo>
                  <a:lnTo>
                    <a:pt x="515" y="1252"/>
                  </a:lnTo>
                  <a:cubicBezTo>
                    <a:pt x="524" y="1228"/>
                    <a:pt x="534" y="1205"/>
                    <a:pt x="543" y="1181"/>
                  </a:cubicBezTo>
                  <a:lnTo>
                    <a:pt x="543" y="1181"/>
                  </a:lnTo>
                  <a:cubicBezTo>
                    <a:pt x="545" y="1177"/>
                    <a:pt x="546" y="1173"/>
                    <a:pt x="548" y="1170"/>
                  </a:cubicBezTo>
                  <a:lnTo>
                    <a:pt x="548" y="1170"/>
                  </a:lnTo>
                  <a:cubicBezTo>
                    <a:pt x="557" y="1147"/>
                    <a:pt x="567" y="1123"/>
                    <a:pt x="578" y="1100"/>
                  </a:cubicBezTo>
                  <a:lnTo>
                    <a:pt x="578" y="1100"/>
                  </a:lnTo>
                  <a:cubicBezTo>
                    <a:pt x="579" y="1097"/>
                    <a:pt x="581" y="1095"/>
                    <a:pt x="582" y="1091"/>
                  </a:cubicBezTo>
                  <a:lnTo>
                    <a:pt x="582" y="1091"/>
                  </a:lnTo>
                  <a:cubicBezTo>
                    <a:pt x="593" y="1068"/>
                    <a:pt x="604" y="1044"/>
                    <a:pt x="616" y="1021"/>
                  </a:cubicBezTo>
                  <a:lnTo>
                    <a:pt x="616" y="1021"/>
                  </a:lnTo>
                  <a:lnTo>
                    <a:pt x="617" y="1019"/>
                  </a:lnTo>
                  <a:lnTo>
                    <a:pt x="617" y="1019"/>
                  </a:lnTo>
                  <a:cubicBezTo>
                    <a:pt x="629" y="995"/>
                    <a:pt x="641" y="972"/>
                    <a:pt x="653" y="949"/>
                  </a:cubicBezTo>
                  <a:lnTo>
                    <a:pt x="653" y="949"/>
                  </a:lnTo>
                  <a:cubicBezTo>
                    <a:pt x="654" y="948"/>
                    <a:pt x="655" y="946"/>
                    <a:pt x="656" y="945"/>
                  </a:cubicBezTo>
                  <a:lnTo>
                    <a:pt x="656" y="945"/>
                  </a:lnTo>
                  <a:cubicBezTo>
                    <a:pt x="668" y="923"/>
                    <a:pt x="681" y="901"/>
                    <a:pt x="693" y="879"/>
                  </a:cubicBezTo>
                  <a:lnTo>
                    <a:pt x="693" y="879"/>
                  </a:lnTo>
                  <a:cubicBezTo>
                    <a:pt x="695" y="876"/>
                    <a:pt x="697" y="873"/>
                    <a:pt x="699" y="870"/>
                  </a:cubicBezTo>
                  <a:lnTo>
                    <a:pt x="699" y="870"/>
                  </a:lnTo>
                  <a:cubicBezTo>
                    <a:pt x="711" y="849"/>
                    <a:pt x="724" y="829"/>
                    <a:pt x="737" y="809"/>
                  </a:cubicBezTo>
                  <a:lnTo>
                    <a:pt x="737" y="809"/>
                  </a:lnTo>
                  <a:cubicBezTo>
                    <a:pt x="740" y="804"/>
                    <a:pt x="743" y="800"/>
                    <a:pt x="746" y="795"/>
                  </a:cubicBezTo>
                  <a:lnTo>
                    <a:pt x="746" y="795"/>
                  </a:lnTo>
                  <a:cubicBezTo>
                    <a:pt x="751" y="787"/>
                    <a:pt x="756" y="780"/>
                    <a:pt x="761" y="773"/>
                  </a:cubicBezTo>
                  <a:lnTo>
                    <a:pt x="761" y="773"/>
                  </a:lnTo>
                  <a:cubicBezTo>
                    <a:pt x="764" y="767"/>
                    <a:pt x="768" y="761"/>
                    <a:pt x="772" y="756"/>
                  </a:cubicBezTo>
                  <a:lnTo>
                    <a:pt x="772" y="756"/>
                  </a:lnTo>
                  <a:cubicBezTo>
                    <a:pt x="777" y="748"/>
                    <a:pt x="782" y="741"/>
                    <a:pt x="787" y="734"/>
                  </a:cubicBezTo>
                  <a:lnTo>
                    <a:pt x="787" y="734"/>
                  </a:lnTo>
                  <a:cubicBezTo>
                    <a:pt x="791" y="728"/>
                    <a:pt x="795" y="723"/>
                    <a:pt x="799" y="717"/>
                  </a:cubicBezTo>
                  <a:lnTo>
                    <a:pt x="799" y="717"/>
                  </a:lnTo>
                  <a:cubicBezTo>
                    <a:pt x="804" y="710"/>
                    <a:pt x="809" y="702"/>
                    <a:pt x="815" y="696"/>
                  </a:cubicBezTo>
                  <a:lnTo>
                    <a:pt x="815" y="696"/>
                  </a:lnTo>
                  <a:cubicBezTo>
                    <a:pt x="819" y="690"/>
                    <a:pt x="822" y="685"/>
                    <a:pt x="827" y="680"/>
                  </a:cubicBezTo>
                  <a:lnTo>
                    <a:pt x="827" y="680"/>
                  </a:lnTo>
                  <a:cubicBezTo>
                    <a:pt x="832" y="672"/>
                    <a:pt x="838" y="665"/>
                    <a:pt x="843" y="658"/>
                  </a:cubicBezTo>
                  <a:lnTo>
                    <a:pt x="843" y="658"/>
                  </a:lnTo>
                  <a:cubicBezTo>
                    <a:pt x="847" y="653"/>
                    <a:pt x="850" y="648"/>
                    <a:pt x="855" y="643"/>
                  </a:cubicBezTo>
                  <a:lnTo>
                    <a:pt x="855" y="643"/>
                  </a:lnTo>
                  <a:cubicBezTo>
                    <a:pt x="861" y="636"/>
                    <a:pt x="867" y="628"/>
                    <a:pt x="872" y="620"/>
                  </a:cubicBezTo>
                  <a:lnTo>
                    <a:pt x="872" y="620"/>
                  </a:lnTo>
                  <a:cubicBezTo>
                    <a:pt x="876" y="616"/>
                    <a:pt x="880" y="612"/>
                    <a:pt x="883" y="608"/>
                  </a:cubicBezTo>
                  <a:lnTo>
                    <a:pt x="883" y="608"/>
                  </a:lnTo>
                  <a:cubicBezTo>
                    <a:pt x="891" y="598"/>
                    <a:pt x="898" y="589"/>
                    <a:pt x="906" y="581"/>
                  </a:cubicBezTo>
                  <a:lnTo>
                    <a:pt x="906" y="581"/>
                  </a:lnTo>
                  <a:cubicBezTo>
                    <a:pt x="908" y="578"/>
                    <a:pt x="911" y="575"/>
                    <a:pt x="913" y="573"/>
                  </a:cubicBezTo>
                  <a:lnTo>
                    <a:pt x="913" y="573"/>
                  </a:lnTo>
                  <a:cubicBezTo>
                    <a:pt x="923" y="561"/>
                    <a:pt x="933" y="550"/>
                    <a:pt x="943" y="539"/>
                  </a:cubicBezTo>
                  <a:lnTo>
                    <a:pt x="943" y="539"/>
                  </a:lnTo>
                  <a:cubicBezTo>
                    <a:pt x="944" y="537"/>
                    <a:pt x="946" y="535"/>
                    <a:pt x="947" y="534"/>
                  </a:cubicBezTo>
                  <a:lnTo>
                    <a:pt x="947" y="534"/>
                  </a:lnTo>
                  <a:cubicBezTo>
                    <a:pt x="956" y="524"/>
                    <a:pt x="965" y="515"/>
                    <a:pt x="974" y="505"/>
                  </a:cubicBezTo>
                  <a:lnTo>
                    <a:pt x="974" y="505"/>
                  </a:lnTo>
                  <a:cubicBezTo>
                    <a:pt x="976" y="502"/>
                    <a:pt x="980" y="498"/>
                    <a:pt x="984" y="495"/>
                  </a:cubicBezTo>
                  <a:lnTo>
                    <a:pt x="984" y="495"/>
                  </a:lnTo>
                  <a:cubicBezTo>
                    <a:pt x="991" y="488"/>
                    <a:pt x="997" y="481"/>
                    <a:pt x="1004" y="473"/>
                  </a:cubicBezTo>
                  <a:lnTo>
                    <a:pt x="1004" y="473"/>
                  </a:lnTo>
                  <a:cubicBezTo>
                    <a:pt x="1008" y="469"/>
                    <a:pt x="1013" y="465"/>
                    <a:pt x="1016" y="461"/>
                  </a:cubicBezTo>
                  <a:lnTo>
                    <a:pt x="1016" y="461"/>
                  </a:lnTo>
                  <a:cubicBezTo>
                    <a:pt x="1023" y="455"/>
                    <a:pt x="1030" y="449"/>
                    <a:pt x="1037" y="442"/>
                  </a:cubicBezTo>
                  <a:lnTo>
                    <a:pt x="1037" y="442"/>
                  </a:lnTo>
                  <a:cubicBezTo>
                    <a:pt x="1041" y="438"/>
                    <a:pt x="1045" y="434"/>
                    <a:pt x="1049" y="430"/>
                  </a:cubicBezTo>
                  <a:lnTo>
                    <a:pt x="1049" y="430"/>
                  </a:lnTo>
                  <a:cubicBezTo>
                    <a:pt x="1055" y="424"/>
                    <a:pt x="1062" y="418"/>
                    <a:pt x="1068" y="411"/>
                  </a:cubicBezTo>
                  <a:lnTo>
                    <a:pt x="1068" y="411"/>
                  </a:lnTo>
                  <a:cubicBezTo>
                    <a:pt x="1073" y="408"/>
                    <a:pt x="1077" y="403"/>
                    <a:pt x="1082" y="399"/>
                  </a:cubicBezTo>
                  <a:lnTo>
                    <a:pt x="1082" y="399"/>
                  </a:lnTo>
                  <a:cubicBezTo>
                    <a:pt x="1088" y="394"/>
                    <a:pt x="1095" y="388"/>
                    <a:pt x="1101" y="382"/>
                  </a:cubicBezTo>
                  <a:lnTo>
                    <a:pt x="1101" y="382"/>
                  </a:lnTo>
                  <a:cubicBezTo>
                    <a:pt x="1106" y="378"/>
                    <a:pt x="1111" y="374"/>
                    <a:pt x="1115" y="370"/>
                  </a:cubicBezTo>
                  <a:lnTo>
                    <a:pt x="1115" y="370"/>
                  </a:lnTo>
                  <a:cubicBezTo>
                    <a:pt x="1122" y="364"/>
                    <a:pt x="1128" y="359"/>
                    <a:pt x="1134" y="354"/>
                  </a:cubicBezTo>
                  <a:lnTo>
                    <a:pt x="1134" y="354"/>
                  </a:lnTo>
                  <a:cubicBezTo>
                    <a:pt x="1139" y="350"/>
                    <a:pt x="1144" y="346"/>
                    <a:pt x="1149" y="342"/>
                  </a:cubicBezTo>
                  <a:lnTo>
                    <a:pt x="1149" y="342"/>
                  </a:lnTo>
                  <a:cubicBezTo>
                    <a:pt x="1155" y="337"/>
                    <a:pt x="1162" y="331"/>
                    <a:pt x="1169" y="326"/>
                  </a:cubicBezTo>
                  <a:lnTo>
                    <a:pt x="1169" y="326"/>
                  </a:lnTo>
                  <a:cubicBezTo>
                    <a:pt x="1174" y="322"/>
                    <a:pt x="1178" y="318"/>
                    <a:pt x="1183" y="315"/>
                  </a:cubicBezTo>
                  <a:lnTo>
                    <a:pt x="1183" y="315"/>
                  </a:lnTo>
                  <a:cubicBezTo>
                    <a:pt x="1189" y="309"/>
                    <a:pt x="1196" y="304"/>
                    <a:pt x="1203" y="299"/>
                  </a:cubicBezTo>
                  <a:lnTo>
                    <a:pt x="1203" y="299"/>
                  </a:lnTo>
                  <a:cubicBezTo>
                    <a:pt x="1208" y="296"/>
                    <a:pt x="1213" y="292"/>
                    <a:pt x="1217" y="288"/>
                  </a:cubicBezTo>
                  <a:lnTo>
                    <a:pt x="1217" y="288"/>
                  </a:lnTo>
                  <a:cubicBezTo>
                    <a:pt x="1224" y="284"/>
                    <a:pt x="1231" y="279"/>
                    <a:pt x="1238" y="274"/>
                  </a:cubicBezTo>
                  <a:lnTo>
                    <a:pt x="1238" y="274"/>
                  </a:lnTo>
                  <a:cubicBezTo>
                    <a:pt x="1243" y="270"/>
                    <a:pt x="1247" y="266"/>
                    <a:pt x="1253" y="263"/>
                  </a:cubicBezTo>
                  <a:lnTo>
                    <a:pt x="1253" y="263"/>
                  </a:lnTo>
                  <a:cubicBezTo>
                    <a:pt x="1260" y="258"/>
                    <a:pt x="1266" y="253"/>
                    <a:pt x="1273" y="249"/>
                  </a:cubicBezTo>
                  <a:lnTo>
                    <a:pt x="1273" y="249"/>
                  </a:lnTo>
                  <a:cubicBezTo>
                    <a:pt x="1278" y="246"/>
                    <a:pt x="1283" y="242"/>
                    <a:pt x="1288" y="239"/>
                  </a:cubicBezTo>
                  <a:lnTo>
                    <a:pt x="1288" y="239"/>
                  </a:lnTo>
                  <a:cubicBezTo>
                    <a:pt x="1296" y="234"/>
                    <a:pt x="1303" y="229"/>
                    <a:pt x="1310" y="224"/>
                  </a:cubicBezTo>
                  <a:lnTo>
                    <a:pt x="1310" y="224"/>
                  </a:lnTo>
                  <a:cubicBezTo>
                    <a:pt x="1315" y="221"/>
                    <a:pt x="1319" y="219"/>
                    <a:pt x="1323" y="216"/>
                  </a:cubicBezTo>
                  <a:lnTo>
                    <a:pt x="1323" y="216"/>
                  </a:lnTo>
                  <a:cubicBezTo>
                    <a:pt x="1333" y="210"/>
                    <a:pt x="1343" y="204"/>
                    <a:pt x="1353" y="198"/>
                  </a:cubicBezTo>
                  <a:lnTo>
                    <a:pt x="1353" y="198"/>
                  </a:lnTo>
                  <a:cubicBezTo>
                    <a:pt x="1355" y="197"/>
                    <a:pt x="1357" y="195"/>
                    <a:pt x="1359" y="194"/>
                  </a:cubicBezTo>
                  <a:lnTo>
                    <a:pt x="1359" y="194"/>
                  </a:lnTo>
                  <a:cubicBezTo>
                    <a:pt x="1371" y="187"/>
                    <a:pt x="1383" y="179"/>
                    <a:pt x="1395" y="173"/>
                  </a:cubicBezTo>
                  <a:lnTo>
                    <a:pt x="1395" y="173"/>
                  </a:lnTo>
                  <a:cubicBezTo>
                    <a:pt x="1399" y="171"/>
                    <a:pt x="1402" y="169"/>
                    <a:pt x="1405" y="167"/>
                  </a:cubicBezTo>
                  <a:lnTo>
                    <a:pt x="1405" y="167"/>
                  </a:lnTo>
                  <a:cubicBezTo>
                    <a:pt x="1414" y="162"/>
                    <a:pt x="1423" y="158"/>
                    <a:pt x="1433" y="153"/>
                  </a:cubicBezTo>
                  <a:lnTo>
                    <a:pt x="1433" y="153"/>
                  </a:lnTo>
                  <a:cubicBezTo>
                    <a:pt x="1437" y="151"/>
                    <a:pt x="1441" y="148"/>
                    <a:pt x="1446" y="146"/>
                  </a:cubicBezTo>
                  <a:lnTo>
                    <a:pt x="1446" y="146"/>
                  </a:lnTo>
                  <a:cubicBezTo>
                    <a:pt x="1453" y="142"/>
                    <a:pt x="1462" y="138"/>
                    <a:pt x="1469" y="134"/>
                  </a:cubicBezTo>
                  <a:lnTo>
                    <a:pt x="1469" y="134"/>
                  </a:lnTo>
                  <a:cubicBezTo>
                    <a:pt x="1474" y="131"/>
                    <a:pt x="1480" y="130"/>
                    <a:pt x="1485" y="127"/>
                  </a:cubicBezTo>
                  <a:lnTo>
                    <a:pt x="1485" y="127"/>
                  </a:lnTo>
                  <a:cubicBezTo>
                    <a:pt x="1492" y="123"/>
                    <a:pt x="1499" y="120"/>
                    <a:pt x="1507" y="116"/>
                  </a:cubicBezTo>
                  <a:lnTo>
                    <a:pt x="1507" y="116"/>
                  </a:lnTo>
                  <a:cubicBezTo>
                    <a:pt x="1512" y="114"/>
                    <a:pt x="1518" y="111"/>
                    <a:pt x="1523" y="109"/>
                  </a:cubicBezTo>
                  <a:lnTo>
                    <a:pt x="1523" y="109"/>
                  </a:lnTo>
                  <a:cubicBezTo>
                    <a:pt x="1530" y="106"/>
                    <a:pt x="1538" y="102"/>
                    <a:pt x="1545" y="99"/>
                  </a:cubicBezTo>
                  <a:lnTo>
                    <a:pt x="1545" y="99"/>
                  </a:lnTo>
                  <a:cubicBezTo>
                    <a:pt x="1551" y="97"/>
                    <a:pt x="1556" y="95"/>
                    <a:pt x="1561" y="92"/>
                  </a:cubicBezTo>
                  <a:lnTo>
                    <a:pt x="1561" y="92"/>
                  </a:lnTo>
                  <a:cubicBezTo>
                    <a:pt x="1568" y="89"/>
                    <a:pt x="1576" y="86"/>
                    <a:pt x="1583" y="84"/>
                  </a:cubicBezTo>
                  <a:lnTo>
                    <a:pt x="1583" y="84"/>
                  </a:lnTo>
                  <a:cubicBezTo>
                    <a:pt x="1589" y="81"/>
                    <a:pt x="1594" y="79"/>
                    <a:pt x="1600" y="77"/>
                  </a:cubicBezTo>
                  <a:lnTo>
                    <a:pt x="1600" y="77"/>
                  </a:lnTo>
                  <a:cubicBezTo>
                    <a:pt x="1607" y="74"/>
                    <a:pt x="1614" y="71"/>
                    <a:pt x="1622" y="69"/>
                  </a:cubicBezTo>
                  <a:lnTo>
                    <a:pt x="1622" y="69"/>
                  </a:lnTo>
                  <a:cubicBezTo>
                    <a:pt x="1627" y="67"/>
                    <a:pt x="1633" y="65"/>
                    <a:pt x="1638" y="63"/>
                  </a:cubicBezTo>
                  <a:lnTo>
                    <a:pt x="1638" y="63"/>
                  </a:lnTo>
                  <a:cubicBezTo>
                    <a:pt x="1646" y="60"/>
                    <a:pt x="1653" y="57"/>
                    <a:pt x="1661" y="55"/>
                  </a:cubicBezTo>
                  <a:lnTo>
                    <a:pt x="1661" y="55"/>
                  </a:lnTo>
                  <a:cubicBezTo>
                    <a:pt x="1666" y="53"/>
                    <a:pt x="1672" y="51"/>
                    <a:pt x="1677" y="49"/>
                  </a:cubicBezTo>
                  <a:lnTo>
                    <a:pt x="1677" y="49"/>
                  </a:lnTo>
                  <a:cubicBezTo>
                    <a:pt x="1685" y="47"/>
                    <a:pt x="1693" y="45"/>
                    <a:pt x="1700" y="43"/>
                  </a:cubicBezTo>
                  <a:lnTo>
                    <a:pt x="1700" y="43"/>
                  </a:lnTo>
                  <a:cubicBezTo>
                    <a:pt x="1705" y="41"/>
                    <a:pt x="1711" y="39"/>
                    <a:pt x="1716" y="37"/>
                  </a:cubicBezTo>
                  <a:lnTo>
                    <a:pt x="1716" y="37"/>
                  </a:lnTo>
                  <a:cubicBezTo>
                    <a:pt x="1725" y="35"/>
                    <a:pt x="1732" y="33"/>
                    <a:pt x="1740" y="31"/>
                  </a:cubicBezTo>
                  <a:lnTo>
                    <a:pt x="1740" y="31"/>
                  </a:lnTo>
                  <a:cubicBezTo>
                    <a:pt x="1745" y="29"/>
                    <a:pt x="1751" y="28"/>
                    <a:pt x="1756" y="27"/>
                  </a:cubicBezTo>
                  <a:lnTo>
                    <a:pt x="1756" y="27"/>
                  </a:lnTo>
                  <a:cubicBezTo>
                    <a:pt x="1764" y="24"/>
                    <a:pt x="1772" y="22"/>
                    <a:pt x="1780" y="21"/>
                  </a:cubicBezTo>
                  <a:lnTo>
                    <a:pt x="1780" y="21"/>
                  </a:lnTo>
                  <a:cubicBezTo>
                    <a:pt x="1785" y="19"/>
                    <a:pt x="1790" y="17"/>
                    <a:pt x="1796" y="16"/>
                  </a:cubicBezTo>
                  <a:lnTo>
                    <a:pt x="1796" y="16"/>
                  </a:lnTo>
                  <a:cubicBezTo>
                    <a:pt x="1805" y="15"/>
                    <a:pt x="1814" y="12"/>
                    <a:pt x="1823" y="11"/>
                  </a:cubicBezTo>
                  <a:lnTo>
                    <a:pt x="1823" y="11"/>
                  </a:lnTo>
                  <a:cubicBezTo>
                    <a:pt x="1827" y="10"/>
                    <a:pt x="1831" y="9"/>
                    <a:pt x="1836" y="8"/>
                  </a:cubicBezTo>
                  <a:lnTo>
                    <a:pt x="1836" y="8"/>
                  </a:lnTo>
                  <a:cubicBezTo>
                    <a:pt x="1849" y="5"/>
                    <a:pt x="1863" y="2"/>
                    <a:pt x="1876" y="0"/>
                  </a:cubicBezTo>
                  <a:lnTo>
                    <a:pt x="1501" y="65"/>
                  </a:lnTo>
                  <a:lnTo>
                    <a:pt x="1501" y="65"/>
                  </a:lnTo>
                  <a:cubicBezTo>
                    <a:pt x="1488" y="68"/>
                    <a:pt x="1474" y="70"/>
                    <a:pt x="1462" y="73"/>
                  </a:cubicBezTo>
                  <a:lnTo>
                    <a:pt x="1462" y="73"/>
                  </a:lnTo>
                  <a:cubicBezTo>
                    <a:pt x="1457" y="74"/>
                    <a:pt x="1453" y="75"/>
                    <a:pt x="1449" y="75"/>
                  </a:cubicBezTo>
                  <a:lnTo>
                    <a:pt x="1449" y="75"/>
                  </a:lnTo>
                  <a:cubicBezTo>
                    <a:pt x="1439" y="78"/>
                    <a:pt x="1431" y="79"/>
                    <a:pt x="1422" y="82"/>
                  </a:cubicBezTo>
                  <a:lnTo>
                    <a:pt x="1422" y="82"/>
                  </a:lnTo>
                  <a:cubicBezTo>
                    <a:pt x="1417" y="83"/>
                    <a:pt x="1412" y="84"/>
                    <a:pt x="1406" y="85"/>
                  </a:cubicBezTo>
                  <a:lnTo>
                    <a:pt x="1406" y="85"/>
                  </a:lnTo>
                  <a:cubicBezTo>
                    <a:pt x="1399" y="87"/>
                    <a:pt x="1391" y="89"/>
                    <a:pt x="1383" y="91"/>
                  </a:cubicBezTo>
                  <a:lnTo>
                    <a:pt x="1383" y="91"/>
                  </a:lnTo>
                  <a:cubicBezTo>
                    <a:pt x="1378" y="93"/>
                    <a:pt x="1372" y="94"/>
                    <a:pt x="1367" y="96"/>
                  </a:cubicBezTo>
                  <a:lnTo>
                    <a:pt x="1367" y="96"/>
                  </a:lnTo>
                  <a:cubicBezTo>
                    <a:pt x="1359" y="98"/>
                    <a:pt x="1352" y="100"/>
                    <a:pt x="1344" y="102"/>
                  </a:cubicBezTo>
                  <a:lnTo>
                    <a:pt x="1344" y="102"/>
                  </a:lnTo>
                  <a:cubicBezTo>
                    <a:pt x="1338" y="104"/>
                    <a:pt x="1333" y="105"/>
                    <a:pt x="1328" y="107"/>
                  </a:cubicBezTo>
                  <a:lnTo>
                    <a:pt x="1328" y="107"/>
                  </a:lnTo>
                  <a:cubicBezTo>
                    <a:pt x="1320" y="109"/>
                    <a:pt x="1313" y="112"/>
                    <a:pt x="1306" y="114"/>
                  </a:cubicBezTo>
                  <a:lnTo>
                    <a:pt x="1306" y="114"/>
                  </a:lnTo>
                  <a:cubicBezTo>
                    <a:pt x="1300" y="115"/>
                    <a:pt x="1295" y="117"/>
                    <a:pt x="1289" y="119"/>
                  </a:cubicBezTo>
                  <a:lnTo>
                    <a:pt x="1289" y="119"/>
                  </a:lnTo>
                  <a:cubicBezTo>
                    <a:pt x="1282" y="121"/>
                    <a:pt x="1274" y="124"/>
                    <a:pt x="1267" y="127"/>
                  </a:cubicBezTo>
                  <a:lnTo>
                    <a:pt x="1267" y="127"/>
                  </a:lnTo>
                  <a:cubicBezTo>
                    <a:pt x="1261" y="129"/>
                    <a:pt x="1256" y="131"/>
                    <a:pt x="1250" y="132"/>
                  </a:cubicBezTo>
                  <a:lnTo>
                    <a:pt x="1250" y="132"/>
                  </a:lnTo>
                  <a:cubicBezTo>
                    <a:pt x="1243" y="135"/>
                    <a:pt x="1236" y="138"/>
                    <a:pt x="1229" y="140"/>
                  </a:cubicBezTo>
                  <a:lnTo>
                    <a:pt x="1229" y="140"/>
                  </a:lnTo>
                  <a:cubicBezTo>
                    <a:pt x="1224" y="143"/>
                    <a:pt x="1218" y="145"/>
                    <a:pt x="1213" y="147"/>
                  </a:cubicBezTo>
                  <a:lnTo>
                    <a:pt x="1213" y="147"/>
                  </a:lnTo>
                  <a:cubicBezTo>
                    <a:pt x="1205" y="149"/>
                    <a:pt x="1198" y="153"/>
                    <a:pt x="1191" y="156"/>
                  </a:cubicBezTo>
                  <a:lnTo>
                    <a:pt x="1191" y="156"/>
                  </a:lnTo>
                  <a:cubicBezTo>
                    <a:pt x="1188" y="157"/>
                    <a:pt x="1184" y="158"/>
                    <a:pt x="1181" y="159"/>
                  </a:cubicBezTo>
                  <a:lnTo>
                    <a:pt x="1181" y="159"/>
                  </a:lnTo>
                  <a:cubicBezTo>
                    <a:pt x="1180" y="161"/>
                    <a:pt x="1177" y="161"/>
                    <a:pt x="1175" y="162"/>
                  </a:cubicBezTo>
                  <a:lnTo>
                    <a:pt x="1175" y="162"/>
                  </a:lnTo>
                  <a:cubicBezTo>
                    <a:pt x="1168" y="166"/>
                    <a:pt x="1161" y="169"/>
                    <a:pt x="1153" y="172"/>
                  </a:cubicBezTo>
                  <a:lnTo>
                    <a:pt x="1153" y="172"/>
                  </a:lnTo>
                  <a:cubicBezTo>
                    <a:pt x="1148" y="174"/>
                    <a:pt x="1143" y="177"/>
                    <a:pt x="1138" y="179"/>
                  </a:cubicBezTo>
                  <a:lnTo>
                    <a:pt x="1138" y="179"/>
                  </a:lnTo>
                  <a:cubicBezTo>
                    <a:pt x="1130" y="182"/>
                    <a:pt x="1123" y="186"/>
                    <a:pt x="1115" y="189"/>
                  </a:cubicBezTo>
                  <a:lnTo>
                    <a:pt x="1115" y="189"/>
                  </a:lnTo>
                  <a:cubicBezTo>
                    <a:pt x="1111" y="192"/>
                    <a:pt x="1106" y="194"/>
                    <a:pt x="1101" y="196"/>
                  </a:cubicBezTo>
                  <a:lnTo>
                    <a:pt x="1101" y="196"/>
                  </a:lnTo>
                  <a:cubicBezTo>
                    <a:pt x="1093" y="200"/>
                    <a:pt x="1085" y="204"/>
                    <a:pt x="1077" y="208"/>
                  </a:cubicBezTo>
                  <a:lnTo>
                    <a:pt x="1077" y="208"/>
                  </a:lnTo>
                  <a:cubicBezTo>
                    <a:pt x="1073" y="210"/>
                    <a:pt x="1069" y="212"/>
                    <a:pt x="1064" y="214"/>
                  </a:cubicBezTo>
                  <a:lnTo>
                    <a:pt x="1064" y="214"/>
                  </a:lnTo>
                  <a:cubicBezTo>
                    <a:pt x="1055" y="219"/>
                    <a:pt x="1046" y="224"/>
                    <a:pt x="1038" y="229"/>
                  </a:cubicBezTo>
                  <a:lnTo>
                    <a:pt x="1038" y="229"/>
                  </a:lnTo>
                  <a:cubicBezTo>
                    <a:pt x="1035" y="231"/>
                    <a:pt x="1031" y="232"/>
                    <a:pt x="1028" y="234"/>
                  </a:cubicBezTo>
                  <a:lnTo>
                    <a:pt x="1028" y="234"/>
                  </a:lnTo>
                  <a:cubicBezTo>
                    <a:pt x="1016" y="241"/>
                    <a:pt x="1004" y="247"/>
                    <a:pt x="992" y="255"/>
                  </a:cubicBezTo>
                  <a:lnTo>
                    <a:pt x="992" y="255"/>
                  </a:lnTo>
                  <a:cubicBezTo>
                    <a:pt x="990" y="256"/>
                    <a:pt x="987" y="257"/>
                    <a:pt x="985" y="258"/>
                  </a:cubicBezTo>
                  <a:lnTo>
                    <a:pt x="985" y="258"/>
                  </a:lnTo>
                  <a:cubicBezTo>
                    <a:pt x="976" y="264"/>
                    <a:pt x="966" y="270"/>
                    <a:pt x="957" y="276"/>
                  </a:cubicBezTo>
                  <a:lnTo>
                    <a:pt x="957" y="276"/>
                  </a:lnTo>
                  <a:cubicBezTo>
                    <a:pt x="953" y="279"/>
                    <a:pt x="948" y="281"/>
                    <a:pt x="944" y="284"/>
                  </a:cubicBezTo>
                  <a:lnTo>
                    <a:pt x="944" y="284"/>
                  </a:lnTo>
                  <a:cubicBezTo>
                    <a:pt x="938" y="288"/>
                    <a:pt x="932" y="292"/>
                    <a:pt x="925" y="296"/>
                  </a:cubicBezTo>
                  <a:lnTo>
                    <a:pt x="925" y="296"/>
                  </a:lnTo>
                  <a:cubicBezTo>
                    <a:pt x="924" y="297"/>
                    <a:pt x="923" y="298"/>
                    <a:pt x="922" y="298"/>
                  </a:cubicBezTo>
                  <a:lnTo>
                    <a:pt x="922" y="298"/>
                  </a:lnTo>
                  <a:cubicBezTo>
                    <a:pt x="917" y="301"/>
                    <a:pt x="912" y="305"/>
                    <a:pt x="907" y="308"/>
                  </a:cubicBezTo>
                  <a:lnTo>
                    <a:pt x="907" y="308"/>
                  </a:lnTo>
                  <a:cubicBezTo>
                    <a:pt x="901" y="313"/>
                    <a:pt x="894" y="317"/>
                    <a:pt x="887" y="322"/>
                  </a:cubicBezTo>
                  <a:lnTo>
                    <a:pt x="887" y="322"/>
                  </a:lnTo>
                  <a:cubicBezTo>
                    <a:pt x="886" y="323"/>
                    <a:pt x="885" y="324"/>
                    <a:pt x="883" y="325"/>
                  </a:cubicBezTo>
                  <a:lnTo>
                    <a:pt x="883" y="325"/>
                  </a:lnTo>
                  <a:cubicBezTo>
                    <a:pt x="880" y="327"/>
                    <a:pt x="876" y="329"/>
                    <a:pt x="872" y="332"/>
                  </a:cubicBezTo>
                  <a:lnTo>
                    <a:pt x="872" y="332"/>
                  </a:lnTo>
                  <a:cubicBezTo>
                    <a:pt x="866" y="337"/>
                    <a:pt x="860" y="342"/>
                    <a:pt x="853" y="346"/>
                  </a:cubicBezTo>
                  <a:lnTo>
                    <a:pt x="853" y="346"/>
                  </a:lnTo>
                  <a:cubicBezTo>
                    <a:pt x="848" y="350"/>
                    <a:pt x="843" y="354"/>
                    <a:pt x="838" y="357"/>
                  </a:cubicBezTo>
                  <a:lnTo>
                    <a:pt x="838" y="357"/>
                  </a:lnTo>
                  <a:cubicBezTo>
                    <a:pt x="831" y="362"/>
                    <a:pt x="825" y="367"/>
                    <a:pt x="819" y="372"/>
                  </a:cubicBezTo>
                  <a:lnTo>
                    <a:pt x="819" y="372"/>
                  </a:lnTo>
                  <a:cubicBezTo>
                    <a:pt x="814" y="376"/>
                    <a:pt x="809" y="379"/>
                    <a:pt x="804" y="383"/>
                  </a:cubicBezTo>
                  <a:lnTo>
                    <a:pt x="804" y="383"/>
                  </a:lnTo>
                  <a:cubicBezTo>
                    <a:pt x="798" y="388"/>
                    <a:pt x="792" y="394"/>
                    <a:pt x="785" y="399"/>
                  </a:cubicBezTo>
                  <a:lnTo>
                    <a:pt x="785" y="399"/>
                  </a:lnTo>
                  <a:cubicBezTo>
                    <a:pt x="781" y="402"/>
                    <a:pt x="776" y="406"/>
                    <a:pt x="771" y="410"/>
                  </a:cubicBezTo>
                  <a:lnTo>
                    <a:pt x="771" y="410"/>
                  </a:lnTo>
                  <a:cubicBezTo>
                    <a:pt x="765" y="415"/>
                    <a:pt x="758" y="420"/>
                    <a:pt x="752" y="426"/>
                  </a:cubicBezTo>
                  <a:lnTo>
                    <a:pt x="752" y="426"/>
                  </a:lnTo>
                  <a:cubicBezTo>
                    <a:pt x="748" y="430"/>
                    <a:pt x="743" y="434"/>
                    <a:pt x="739" y="438"/>
                  </a:cubicBezTo>
                  <a:lnTo>
                    <a:pt x="739" y="438"/>
                  </a:lnTo>
                  <a:cubicBezTo>
                    <a:pt x="732" y="443"/>
                    <a:pt x="726" y="449"/>
                    <a:pt x="720" y="454"/>
                  </a:cubicBezTo>
                  <a:lnTo>
                    <a:pt x="720" y="454"/>
                  </a:lnTo>
                  <a:cubicBezTo>
                    <a:pt x="715" y="458"/>
                    <a:pt x="710" y="462"/>
                    <a:pt x="706" y="466"/>
                  </a:cubicBezTo>
                  <a:lnTo>
                    <a:pt x="706" y="466"/>
                  </a:lnTo>
                  <a:cubicBezTo>
                    <a:pt x="699" y="472"/>
                    <a:pt x="693" y="478"/>
                    <a:pt x="687" y="484"/>
                  </a:cubicBezTo>
                  <a:lnTo>
                    <a:pt x="687" y="484"/>
                  </a:lnTo>
                  <a:cubicBezTo>
                    <a:pt x="683" y="488"/>
                    <a:pt x="679" y="492"/>
                    <a:pt x="674" y="496"/>
                  </a:cubicBezTo>
                  <a:lnTo>
                    <a:pt x="674" y="496"/>
                  </a:lnTo>
                  <a:cubicBezTo>
                    <a:pt x="668" y="502"/>
                    <a:pt x="662" y="509"/>
                    <a:pt x="655" y="515"/>
                  </a:cubicBezTo>
                  <a:lnTo>
                    <a:pt x="655" y="515"/>
                  </a:lnTo>
                  <a:cubicBezTo>
                    <a:pt x="651" y="518"/>
                    <a:pt x="647" y="522"/>
                    <a:pt x="643" y="526"/>
                  </a:cubicBezTo>
                  <a:lnTo>
                    <a:pt x="643" y="526"/>
                  </a:lnTo>
                  <a:cubicBezTo>
                    <a:pt x="636" y="533"/>
                    <a:pt x="630" y="540"/>
                    <a:pt x="623" y="547"/>
                  </a:cubicBezTo>
                  <a:lnTo>
                    <a:pt x="623" y="547"/>
                  </a:lnTo>
                  <a:cubicBezTo>
                    <a:pt x="620" y="550"/>
                    <a:pt x="617" y="552"/>
                    <a:pt x="614" y="556"/>
                  </a:cubicBezTo>
                  <a:lnTo>
                    <a:pt x="614" y="556"/>
                  </a:lnTo>
                  <a:lnTo>
                    <a:pt x="613" y="557"/>
                  </a:lnTo>
                  <a:lnTo>
                    <a:pt x="613" y="557"/>
                  </a:lnTo>
                  <a:cubicBezTo>
                    <a:pt x="604" y="567"/>
                    <a:pt x="595" y="576"/>
                    <a:pt x="587" y="585"/>
                  </a:cubicBezTo>
                  <a:lnTo>
                    <a:pt x="587" y="585"/>
                  </a:lnTo>
                  <a:cubicBezTo>
                    <a:pt x="586" y="586"/>
                    <a:pt x="584" y="588"/>
                    <a:pt x="583" y="589"/>
                  </a:cubicBezTo>
                  <a:lnTo>
                    <a:pt x="583" y="589"/>
                  </a:lnTo>
                  <a:cubicBezTo>
                    <a:pt x="573" y="600"/>
                    <a:pt x="563" y="611"/>
                    <a:pt x="553" y="623"/>
                  </a:cubicBezTo>
                  <a:lnTo>
                    <a:pt x="553" y="623"/>
                  </a:lnTo>
                  <a:cubicBezTo>
                    <a:pt x="551" y="625"/>
                    <a:pt x="548" y="628"/>
                    <a:pt x="547" y="630"/>
                  </a:cubicBezTo>
                  <a:lnTo>
                    <a:pt x="547" y="630"/>
                  </a:lnTo>
                  <a:cubicBezTo>
                    <a:pt x="539" y="639"/>
                    <a:pt x="531" y="648"/>
                    <a:pt x="525" y="657"/>
                  </a:cubicBezTo>
                  <a:lnTo>
                    <a:pt x="525" y="657"/>
                  </a:lnTo>
                  <a:cubicBezTo>
                    <a:pt x="521" y="661"/>
                    <a:pt x="517" y="665"/>
                    <a:pt x="514" y="670"/>
                  </a:cubicBezTo>
                  <a:lnTo>
                    <a:pt x="514" y="670"/>
                  </a:lnTo>
                  <a:cubicBezTo>
                    <a:pt x="508" y="676"/>
                    <a:pt x="502" y="683"/>
                    <a:pt x="496" y="691"/>
                  </a:cubicBezTo>
                  <a:lnTo>
                    <a:pt x="496" y="691"/>
                  </a:lnTo>
                  <a:cubicBezTo>
                    <a:pt x="492" y="696"/>
                    <a:pt x="488" y="701"/>
                    <a:pt x="485" y="706"/>
                  </a:cubicBezTo>
                  <a:lnTo>
                    <a:pt x="485" y="706"/>
                  </a:lnTo>
                  <a:cubicBezTo>
                    <a:pt x="479" y="713"/>
                    <a:pt x="474" y="719"/>
                    <a:pt x="468" y="726"/>
                  </a:cubicBezTo>
                  <a:lnTo>
                    <a:pt x="468" y="726"/>
                  </a:lnTo>
                  <a:cubicBezTo>
                    <a:pt x="464" y="732"/>
                    <a:pt x="461" y="737"/>
                    <a:pt x="457" y="742"/>
                  </a:cubicBezTo>
                  <a:lnTo>
                    <a:pt x="457" y="742"/>
                  </a:lnTo>
                  <a:cubicBezTo>
                    <a:pt x="453" y="746"/>
                    <a:pt x="450" y="751"/>
                    <a:pt x="447" y="756"/>
                  </a:cubicBezTo>
                  <a:lnTo>
                    <a:pt x="447" y="756"/>
                  </a:lnTo>
                  <a:cubicBezTo>
                    <a:pt x="445" y="758"/>
                    <a:pt x="443" y="761"/>
                    <a:pt x="441" y="763"/>
                  </a:cubicBezTo>
                  <a:lnTo>
                    <a:pt x="441" y="763"/>
                  </a:lnTo>
                  <a:cubicBezTo>
                    <a:pt x="438" y="768"/>
                    <a:pt x="434" y="774"/>
                    <a:pt x="430" y="780"/>
                  </a:cubicBezTo>
                  <a:lnTo>
                    <a:pt x="430" y="780"/>
                  </a:lnTo>
                  <a:cubicBezTo>
                    <a:pt x="425" y="786"/>
                    <a:pt x="420" y="793"/>
                    <a:pt x="415" y="800"/>
                  </a:cubicBezTo>
                  <a:lnTo>
                    <a:pt x="415" y="800"/>
                  </a:lnTo>
                  <a:cubicBezTo>
                    <a:pt x="411" y="806"/>
                    <a:pt x="407" y="811"/>
                    <a:pt x="403" y="817"/>
                  </a:cubicBezTo>
                  <a:lnTo>
                    <a:pt x="403" y="817"/>
                  </a:lnTo>
                  <a:cubicBezTo>
                    <a:pt x="399" y="824"/>
                    <a:pt x="394" y="831"/>
                    <a:pt x="389" y="838"/>
                  </a:cubicBezTo>
                  <a:lnTo>
                    <a:pt x="389" y="838"/>
                  </a:lnTo>
                  <a:cubicBezTo>
                    <a:pt x="387" y="841"/>
                    <a:pt x="385" y="844"/>
                    <a:pt x="383" y="847"/>
                  </a:cubicBezTo>
                  <a:lnTo>
                    <a:pt x="383" y="847"/>
                  </a:lnTo>
                  <a:cubicBezTo>
                    <a:pt x="382" y="849"/>
                    <a:pt x="382" y="850"/>
                    <a:pt x="380" y="852"/>
                  </a:cubicBezTo>
                  <a:lnTo>
                    <a:pt x="380" y="852"/>
                  </a:lnTo>
                  <a:cubicBezTo>
                    <a:pt x="367" y="871"/>
                    <a:pt x="355" y="891"/>
                    <a:pt x="343" y="911"/>
                  </a:cubicBezTo>
                  <a:lnTo>
                    <a:pt x="343" y="911"/>
                  </a:lnTo>
                  <a:cubicBezTo>
                    <a:pt x="341" y="914"/>
                    <a:pt x="339" y="917"/>
                    <a:pt x="337" y="920"/>
                  </a:cubicBezTo>
                  <a:lnTo>
                    <a:pt x="337" y="920"/>
                  </a:lnTo>
                  <a:cubicBezTo>
                    <a:pt x="325" y="941"/>
                    <a:pt x="313" y="962"/>
                    <a:pt x="301" y="983"/>
                  </a:cubicBezTo>
                  <a:lnTo>
                    <a:pt x="301" y="983"/>
                  </a:lnTo>
                  <a:cubicBezTo>
                    <a:pt x="301" y="984"/>
                    <a:pt x="301" y="984"/>
                    <a:pt x="300" y="985"/>
                  </a:cubicBezTo>
                  <a:lnTo>
                    <a:pt x="300" y="985"/>
                  </a:lnTo>
                  <a:cubicBezTo>
                    <a:pt x="299" y="986"/>
                    <a:pt x="299" y="987"/>
                    <a:pt x="298" y="988"/>
                  </a:cubicBezTo>
                  <a:lnTo>
                    <a:pt x="298" y="988"/>
                  </a:lnTo>
                  <a:cubicBezTo>
                    <a:pt x="286" y="1010"/>
                    <a:pt x="274" y="1033"/>
                    <a:pt x="263" y="1055"/>
                  </a:cubicBezTo>
                  <a:lnTo>
                    <a:pt x="263" y="1055"/>
                  </a:lnTo>
                  <a:cubicBezTo>
                    <a:pt x="262" y="1056"/>
                    <a:pt x="262" y="1057"/>
                    <a:pt x="262" y="1058"/>
                  </a:cubicBezTo>
                  <a:lnTo>
                    <a:pt x="262" y="1058"/>
                  </a:lnTo>
                  <a:cubicBezTo>
                    <a:pt x="250" y="1080"/>
                    <a:pt x="239" y="1102"/>
                    <a:pt x="228" y="1126"/>
                  </a:cubicBezTo>
                  <a:lnTo>
                    <a:pt x="228" y="1126"/>
                  </a:lnTo>
                  <a:cubicBezTo>
                    <a:pt x="227" y="1127"/>
                    <a:pt x="227" y="1129"/>
                    <a:pt x="226" y="1131"/>
                  </a:cubicBezTo>
                  <a:lnTo>
                    <a:pt x="226" y="1131"/>
                  </a:lnTo>
                  <a:cubicBezTo>
                    <a:pt x="226" y="1132"/>
                    <a:pt x="225" y="1133"/>
                    <a:pt x="224" y="1134"/>
                  </a:cubicBezTo>
                  <a:lnTo>
                    <a:pt x="224" y="1134"/>
                  </a:lnTo>
                  <a:cubicBezTo>
                    <a:pt x="214" y="1156"/>
                    <a:pt x="204" y="1179"/>
                    <a:pt x="195" y="1201"/>
                  </a:cubicBezTo>
                  <a:lnTo>
                    <a:pt x="195" y="1201"/>
                  </a:lnTo>
                  <a:cubicBezTo>
                    <a:pt x="193" y="1205"/>
                    <a:pt x="192" y="1209"/>
                    <a:pt x="190" y="1212"/>
                  </a:cubicBezTo>
                  <a:lnTo>
                    <a:pt x="190" y="1212"/>
                  </a:lnTo>
                  <a:cubicBezTo>
                    <a:pt x="181" y="1235"/>
                    <a:pt x="172" y="1258"/>
                    <a:pt x="163" y="1281"/>
                  </a:cubicBezTo>
                  <a:lnTo>
                    <a:pt x="163" y="1281"/>
                  </a:lnTo>
                  <a:cubicBezTo>
                    <a:pt x="162" y="1282"/>
                    <a:pt x="161" y="1284"/>
                    <a:pt x="161" y="1285"/>
                  </a:cubicBezTo>
                  <a:lnTo>
                    <a:pt x="161" y="1285"/>
                  </a:lnTo>
                  <a:cubicBezTo>
                    <a:pt x="160" y="1288"/>
                    <a:pt x="159" y="1290"/>
                    <a:pt x="159" y="1292"/>
                  </a:cubicBezTo>
                  <a:lnTo>
                    <a:pt x="159" y="1292"/>
                  </a:lnTo>
                  <a:cubicBezTo>
                    <a:pt x="150" y="1315"/>
                    <a:pt x="141" y="1339"/>
                    <a:pt x="133" y="1363"/>
                  </a:cubicBezTo>
                  <a:lnTo>
                    <a:pt x="133" y="1363"/>
                  </a:lnTo>
                  <a:cubicBezTo>
                    <a:pt x="132" y="1366"/>
                    <a:pt x="131" y="1368"/>
                    <a:pt x="131" y="1371"/>
                  </a:cubicBezTo>
                  <a:lnTo>
                    <a:pt x="131" y="1371"/>
                  </a:lnTo>
                  <a:cubicBezTo>
                    <a:pt x="127" y="1382"/>
                    <a:pt x="123" y="1392"/>
                    <a:pt x="120" y="1403"/>
                  </a:cubicBezTo>
                  <a:lnTo>
                    <a:pt x="120" y="1403"/>
                  </a:lnTo>
                  <a:cubicBezTo>
                    <a:pt x="115" y="1417"/>
                    <a:pt x="111" y="1431"/>
                    <a:pt x="107" y="1446"/>
                  </a:cubicBezTo>
                  <a:lnTo>
                    <a:pt x="107" y="1446"/>
                  </a:lnTo>
                  <a:cubicBezTo>
                    <a:pt x="106" y="1446"/>
                    <a:pt x="106" y="1447"/>
                    <a:pt x="106" y="1447"/>
                  </a:cubicBezTo>
                  <a:lnTo>
                    <a:pt x="106" y="1447"/>
                  </a:lnTo>
                  <a:lnTo>
                    <a:pt x="106" y="1448"/>
                  </a:lnTo>
                  <a:lnTo>
                    <a:pt x="106" y="1448"/>
                  </a:lnTo>
                  <a:cubicBezTo>
                    <a:pt x="100" y="1470"/>
                    <a:pt x="93" y="1493"/>
                    <a:pt x="87" y="1515"/>
                  </a:cubicBezTo>
                  <a:lnTo>
                    <a:pt x="87" y="1515"/>
                  </a:lnTo>
                  <a:cubicBezTo>
                    <a:pt x="85" y="1520"/>
                    <a:pt x="84" y="1524"/>
                    <a:pt x="83" y="1529"/>
                  </a:cubicBezTo>
                  <a:lnTo>
                    <a:pt x="83" y="1529"/>
                  </a:lnTo>
                  <a:cubicBezTo>
                    <a:pt x="78" y="1551"/>
                    <a:pt x="72" y="1573"/>
                    <a:pt x="67" y="1596"/>
                  </a:cubicBezTo>
                  <a:lnTo>
                    <a:pt x="67" y="1596"/>
                  </a:lnTo>
                  <a:cubicBezTo>
                    <a:pt x="67" y="1597"/>
                    <a:pt x="66" y="1598"/>
                    <a:pt x="66" y="1600"/>
                  </a:cubicBezTo>
                  <a:lnTo>
                    <a:pt x="66" y="1600"/>
                  </a:lnTo>
                  <a:cubicBezTo>
                    <a:pt x="65" y="1602"/>
                    <a:pt x="65" y="1604"/>
                    <a:pt x="64" y="1607"/>
                  </a:cubicBezTo>
                  <a:lnTo>
                    <a:pt x="64" y="1607"/>
                  </a:lnTo>
                  <a:cubicBezTo>
                    <a:pt x="59" y="1629"/>
                    <a:pt x="54" y="1651"/>
                    <a:pt x="50" y="1673"/>
                  </a:cubicBezTo>
                  <a:lnTo>
                    <a:pt x="50" y="1673"/>
                  </a:lnTo>
                  <a:cubicBezTo>
                    <a:pt x="49" y="1676"/>
                    <a:pt x="49" y="1677"/>
                    <a:pt x="49" y="1680"/>
                  </a:cubicBezTo>
                  <a:lnTo>
                    <a:pt x="49" y="1680"/>
                  </a:lnTo>
                  <a:cubicBezTo>
                    <a:pt x="44" y="1703"/>
                    <a:pt x="39" y="1727"/>
                    <a:pt x="36" y="1751"/>
                  </a:cubicBezTo>
                  <a:lnTo>
                    <a:pt x="36" y="1751"/>
                  </a:lnTo>
                  <a:cubicBezTo>
                    <a:pt x="35" y="1752"/>
                    <a:pt x="35" y="1755"/>
                    <a:pt x="35" y="1757"/>
                  </a:cubicBezTo>
                  <a:lnTo>
                    <a:pt x="35" y="1757"/>
                  </a:lnTo>
                  <a:cubicBezTo>
                    <a:pt x="34" y="1759"/>
                    <a:pt x="34" y="1762"/>
                    <a:pt x="33" y="1764"/>
                  </a:cubicBezTo>
                  <a:lnTo>
                    <a:pt x="33" y="1764"/>
                  </a:lnTo>
                  <a:cubicBezTo>
                    <a:pt x="30" y="1788"/>
                    <a:pt x="26" y="1812"/>
                    <a:pt x="22" y="1836"/>
                  </a:cubicBezTo>
                  <a:lnTo>
                    <a:pt x="22" y="1836"/>
                  </a:lnTo>
                  <a:cubicBezTo>
                    <a:pt x="22" y="1838"/>
                    <a:pt x="22" y="1841"/>
                    <a:pt x="22" y="1843"/>
                  </a:cubicBezTo>
                  <a:lnTo>
                    <a:pt x="22" y="1843"/>
                  </a:lnTo>
                  <a:cubicBezTo>
                    <a:pt x="19" y="1866"/>
                    <a:pt x="16" y="1889"/>
                    <a:pt x="14" y="1912"/>
                  </a:cubicBezTo>
                  <a:lnTo>
                    <a:pt x="14" y="1912"/>
                  </a:lnTo>
                  <a:cubicBezTo>
                    <a:pt x="13" y="1914"/>
                    <a:pt x="13" y="1917"/>
                    <a:pt x="13" y="1919"/>
                  </a:cubicBezTo>
                  <a:lnTo>
                    <a:pt x="13" y="1919"/>
                  </a:lnTo>
                  <a:cubicBezTo>
                    <a:pt x="13" y="1920"/>
                    <a:pt x="13" y="1921"/>
                    <a:pt x="13" y="1923"/>
                  </a:cubicBezTo>
                  <a:lnTo>
                    <a:pt x="13" y="1923"/>
                  </a:lnTo>
                  <a:cubicBezTo>
                    <a:pt x="10" y="1946"/>
                    <a:pt x="9" y="1971"/>
                    <a:pt x="6" y="1995"/>
                  </a:cubicBezTo>
                  <a:lnTo>
                    <a:pt x="6" y="1995"/>
                  </a:lnTo>
                  <a:cubicBezTo>
                    <a:pt x="6" y="1999"/>
                    <a:pt x="6" y="2004"/>
                    <a:pt x="5" y="2009"/>
                  </a:cubicBezTo>
                  <a:lnTo>
                    <a:pt x="5" y="2009"/>
                  </a:lnTo>
                  <a:cubicBezTo>
                    <a:pt x="4" y="2034"/>
                    <a:pt x="2" y="2059"/>
                    <a:pt x="2" y="2084"/>
                  </a:cubicBezTo>
                  <a:lnTo>
                    <a:pt x="2" y="2084"/>
                  </a:lnTo>
                  <a:lnTo>
                    <a:pt x="2" y="2085"/>
                  </a:lnTo>
                  <a:lnTo>
                    <a:pt x="2" y="2085"/>
                  </a:lnTo>
                  <a:cubicBezTo>
                    <a:pt x="1" y="2093"/>
                    <a:pt x="1" y="2101"/>
                    <a:pt x="0" y="2110"/>
                  </a:cubicBezTo>
                  <a:lnTo>
                    <a:pt x="0" y="2110"/>
                  </a:lnTo>
                  <a:cubicBezTo>
                    <a:pt x="0" y="2117"/>
                    <a:pt x="0" y="2125"/>
                    <a:pt x="0" y="2132"/>
                  </a:cubicBezTo>
                  <a:lnTo>
                    <a:pt x="0" y="2132"/>
                  </a:lnTo>
                  <a:cubicBezTo>
                    <a:pt x="0" y="2133"/>
                    <a:pt x="0" y="2133"/>
                    <a:pt x="0" y="2134"/>
                  </a:cubicBezTo>
                  <a:lnTo>
                    <a:pt x="0" y="2134"/>
                  </a:lnTo>
                  <a:lnTo>
                    <a:pt x="0" y="2135"/>
                  </a:lnTo>
                  <a:lnTo>
                    <a:pt x="0" y="2135"/>
                  </a:lnTo>
                  <a:cubicBezTo>
                    <a:pt x="0" y="2143"/>
                    <a:pt x="0" y="2151"/>
                    <a:pt x="0" y="2160"/>
                  </a:cubicBezTo>
                  <a:lnTo>
                    <a:pt x="0" y="2160"/>
                  </a:lnTo>
                  <a:cubicBezTo>
                    <a:pt x="0" y="2168"/>
                    <a:pt x="0" y="2176"/>
                    <a:pt x="0" y="2185"/>
                  </a:cubicBezTo>
                  <a:lnTo>
                    <a:pt x="0" y="2185"/>
                  </a:lnTo>
                  <a:cubicBezTo>
                    <a:pt x="0" y="2461"/>
                    <a:pt x="42" y="2724"/>
                    <a:pt x="120" y="2967"/>
                  </a:cubicBezTo>
                  <a:lnTo>
                    <a:pt x="120" y="2967"/>
                  </a:lnTo>
                  <a:cubicBezTo>
                    <a:pt x="197" y="3206"/>
                    <a:pt x="309" y="3425"/>
                    <a:pt x="447" y="3614"/>
                  </a:cubicBezTo>
                  <a:lnTo>
                    <a:pt x="447" y="3614"/>
                  </a:lnTo>
                  <a:cubicBezTo>
                    <a:pt x="583" y="3800"/>
                    <a:pt x="745" y="3955"/>
                    <a:pt x="925" y="4073"/>
                  </a:cubicBezTo>
                  <a:lnTo>
                    <a:pt x="925" y="4073"/>
                  </a:lnTo>
                  <a:cubicBezTo>
                    <a:pt x="1103" y="4189"/>
                    <a:pt x="1297" y="4268"/>
                    <a:pt x="1501" y="4303"/>
                  </a:cubicBezTo>
                  <a:lnTo>
                    <a:pt x="1876" y="4369"/>
                  </a:lnTo>
                  <a:lnTo>
                    <a:pt x="1876" y="4369"/>
                  </a:lnTo>
                  <a:cubicBezTo>
                    <a:pt x="1669" y="4333"/>
                    <a:pt x="1472" y="4251"/>
                    <a:pt x="1291" y="4132"/>
                  </a:cubicBezTo>
                </a:path>
              </a:pathLst>
            </a:custGeom>
            <a:solidFill>
              <a:srgbClr val="000000">
                <a:alpha val="23922"/>
              </a:srgbClr>
            </a:solidFill>
            <a:ln>
              <a:noFill/>
            </a:ln>
            <a:effectLst/>
          </p:spPr>
          <p:txBody>
            <a:bodyPr wrap="none" anchor="ctr"/>
            <a:lstStyle/>
            <a:p>
              <a:endParaRPr lang="en-US" dirty="0">
                <a:latin typeface="Poppins" pitchFamily="2" charset="77"/>
              </a:endParaRPr>
            </a:p>
          </p:txBody>
        </p:sp>
        <p:sp>
          <p:nvSpPr>
            <p:cNvPr id="26" name="Freeform 30">
              <a:extLst>
                <a:ext uri="{FF2B5EF4-FFF2-40B4-BE49-F238E27FC236}">
                  <a16:creationId xmlns:a16="http://schemas.microsoft.com/office/drawing/2014/main" id="{A8BF1E46-4515-8464-044E-B526777D701D}"/>
                </a:ext>
              </a:extLst>
            </p:cNvPr>
            <p:cNvSpPr>
              <a:spLocks noChangeArrowheads="1"/>
            </p:cNvSpPr>
            <p:nvPr/>
          </p:nvSpPr>
          <p:spPr bwMode="auto">
            <a:xfrm>
              <a:off x="5245017" y="6060738"/>
              <a:ext cx="487757" cy="909003"/>
            </a:xfrm>
            <a:custGeom>
              <a:avLst/>
              <a:gdLst>
                <a:gd name="T0" fmla="*/ 195 w 196"/>
                <a:gd name="T1" fmla="*/ 181 h 362"/>
                <a:gd name="T2" fmla="*/ 195 w 196"/>
                <a:gd name="T3" fmla="*/ 181 h 362"/>
                <a:gd name="T4" fmla="*/ 98 w 196"/>
                <a:gd name="T5" fmla="*/ 361 h 362"/>
                <a:gd name="T6" fmla="*/ 98 w 196"/>
                <a:gd name="T7" fmla="*/ 361 h 362"/>
                <a:gd name="T8" fmla="*/ 0 w 196"/>
                <a:gd name="T9" fmla="*/ 181 h 362"/>
                <a:gd name="T10" fmla="*/ 0 w 196"/>
                <a:gd name="T11" fmla="*/ 181 h 362"/>
                <a:gd name="T12" fmla="*/ 98 w 196"/>
                <a:gd name="T13" fmla="*/ 0 h 362"/>
                <a:gd name="T14" fmla="*/ 98 w 196"/>
                <a:gd name="T15" fmla="*/ 0 h 362"/>
                <a:gd name="T16" fmla="*/ 195 w 196"/>
                <a:gd name="T17" fmla="*/ 18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62">
                  <a:moveTo>
                    <a:pt x="195" y="181"/>
                  </a:moveTo>
                  <a:lnTo>
                    <a:pt x="195" y="181"/>
                  </a:lnTo>
                  <a:cubicBezTo>
                    <a:pt x="195" y="281"/>
                    <a:pt x="151" y="361"/>
                    <a:pt x="98" y="361"/>
                  </a:cubicBezTo>
                  <a:lnTo>
                    <a:pt x="98" y="361"/>
                  </a:lnTo>
                  <a:cubicBezTo>
                    <a:pt x="44" y="361"/>
                    <a:pt x="0" y="281"/>
                    <a:pt x="0" y="181"/>
                  </a:cubicBezTo>
                  <a:lnTo>
                    <a:pt x="0" y="181"/>
                  </a:lnTo>
                  <a:cubicBezTo>
                    <a:pt x="0" y="81"/>
                    <a:pt x="44" y="0"/>
                    <a:pt x="98" y="0"/>
                  </a:cubicBezTo>
                  <a:lnTo>
                    <a:pt x="98" y="0"/>
                  </a:lnTo>
                  <a:cubicBezTo>
                    <a:pt x="151" y="0"/>
                    <a:pt x="195" y="81"/>
                    <a:pt x="195" y="181"/>
                  </a:cubicBezTo>
                </a:path>
              </a:pathLst>
            </a:custGeom>
            <a:solidFill>
              <a:schemeClr val="tx2">
                <a:alpha val="30000"/>
              </a:schemeClr>
            </a:solidFill>
            <a:ln>
              <a:noFill/>
            </a:ln>
            <a:effectLst/>
          </p:spPr>
          <p:txBody>
            <a:bodyPr wrap="none" anchor="ctr"/>
            <a:lstStyle/>
            <a:p>
              <a:endParaRPr lang="en-US" dirty="0">
                <a:latin typeface="Poppins" pitchFamily="2" charset="77"/>
              </a:endParaRPr>
            </a:p>
          </p:txBody>
        </p:sp>
        <p:sp>
          <p:nvSpPr>
            <p:cNvPr id="27" name="Freeform 31">
              <a:extLst>
                <a:ext uri="{FF2B5EF4-FFF2-40B4-BE49-F238E27FC236}">
                  <a16:creationId xmlns:a16="http://schemas.microsoft.com/office/drawing/2014/main" id="{619756B2-D627-EF16-40FE-9114732FE003}"/>
                </a:ext>
              </a:extLst>
            </p:cNvPr>
            <p:cNvSpPr>
              <a:spLocks noChangeArrowheads="1"/>
            </p:cNvSpPr>
            <p:nvPr/>
          </p:nvSpPr>
          <p:spPr bwMode="auto">
            <a:xfrm>
              <a:off x="797017" y="6419962"/>
              <a:ext cx="4825460" cy="139870"/>
            </a:xfrm>
            <a:custGeom>
              <a:avLst/>
              <a:gdLst>
                <a:gd name="T0" fmla="*/ 3596 w 3650"/>
                <a:gd name="T1" fmla="*/ 106 h 107"/>
                <a:gd name="T2" fmla="*/ 53 w 3650"/>
                <a:gd name="T3" fmla="*/ 106 h 107"/>
                <a:gd name="T4" fmla="*/ 53 w 3650"/>
                <a:gd name="T5" fmla="*/ 106 h 107"/>
                <a:gd name="T6" fmla="*/ 0 w 3650"/>
                <a:gd name="T7" fmla="*/ 53 h 107"/>
                <a:gd name="T8" fmla="*/ 0 w 3650"/>
                <a:gd name="T9" fmla="*/ 53 h 107"/>
                <a:gd name="T10" fmla="*/ 53 w 3650"/>
                <a:gd name="T11" fmla="*/ 0 h 107"/>
                <a:gd name="T12" fmla="*/ 3596 w 3650"/>
                <a:gd name="T13" fmla="*/ 0 h 107"/>
                <a:gd name="T14" fmla="*/ 3596 w 3650"/>
                <a:gd name="T15" fmla="*/ 0 h 107"/>
                <a:gd name="T16" fmla="*/ 3649 w 3650"/>
                <a:gd name="T17" fmla="*/ 53 h 107"/>
                <a:gd name="T18" fmla="*/ 3649 w 3650"/>
                <a:gd name="T19" fmla="*/ 53 h 107"/>
                <a:gd name="T20" fmla="*/ 3596 w 3650"/>
                <a:gd name="T21"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0" h="107">
                  <a:moveTo>
                    <a:pt x="3596" y="106"/>
                  </a:moveTo>
                  <a:lnTo>
                    <a:pt x="53" y="106"/>
                  </a:lnTo>
                  <a:lnTo>
                    <a:pt x="53" y="106"/>
                  </a:lnTo>
                  <a:cubicBezTo>
                    <a:pt x="23" y="106"/>
                    <a:pt x="0" y="82"/>
                    <a:pt x="0" y="53"/>
                  </a:cubicBezTo>
                  <a:lnTo>
                    <a:pt x="0" y="53"/>
                  </a:lnTo>
                  <a:cubicBezTo>
                    <a:pt x="0" y="24"/>
                    <a:pt x="23" y="0"/>
                    <a:pt x="53" y="0"/>
                  </a:cubicBezTo>
                  <a:lnTo>
                    <a:pt x="3596" y="0"/>
                  </a:lnTo>
                  <a:lnTo>
                    <a:pt x="3596" y="0"/>
                  </a:lnTo>
                  <a:cubicBezTo>
                    <a:pt x="3625" y="0"/>
                    <a:pt x="3649" y="24"/>
                    <a:pt x="3649" y="53"/>
                  </a:cubicBezTo>
                  <a:lnTo>
                    <a:pt x="3649" y="53"/>
                  </a:lnTo>
                  <a:cubicBezTo>
                    <a:pt x="3649" y="82"/>
                    <a:pt x="3625" y="106"/>
                    <a:pt x="3596" y="106"/>
                  </a:cubicBezTo>
                </a:path>
              </a:pathLst>
            </a:custGeom>
            <a:solidFill>
              <a:schemeClr val="tx2"/>
            </a:solidFill>
            <a:ln>
              <a:noFill/>
            </a:ln>
            <a:effectLst/>
          </p:spPr>
          <p:txBody>
            <a:bodyPr wrap="none" anchor="ctr"/>
            <a:lstStyle/>
            <a:p>
              <a:endParaRPr lang="en-US" dirty="0">
                <a:latin typeface="Poppins" pitchFamily="2" charset="77"/>
              </a:endParaRPr>
            </a:p>
          </p:txBody>
        </p:sp>
        <p:sp>
          <p:nvSpPr>
            <p:cNvPr id="28" name="Freeform 33">
              <a:extLst>
                <a:ext uri="{FF2B5EF4-FFF2-40B4-BE49-F238E27FC236}">
                  <a16:creationId xmlns:a16="http://schemas.microsoft.com/office/drawing/2014/main" id="{D2B6835D-8414-B190-85BA-8C40103B3EA0}"/>
                </a:ext>
              </a:extLst>
            </p:cNvPr>
            <p:cNvSpPr>
              <a:spLocks noChangeArrowheads="1"/>
            </p:cNvSpPr>
            <p:nvPr/>
          </p:nvSpPr>
          <p:spPr bwMode="auto">
            <a:xfrm rot="10800000">
              <a:off x="531346" y="6026425"/>
              <a:ext cx="1304729" cy="909388"/>
            </a:xfrm>
            <a:custGeom>
              <a:avLst/>
              <a:gdLst>
                <a:gd name="connsiteX0" fmla="*/ 0 w 1229774"/>
                <a:gd name="connsiteY0" fmla="*/ 494667 h 857143"/>
                <a:gd name="connsiteX1" fmla="*/ 926329 w 1229774"/>
                <a:gd name="connsiteY1" fmla="*/ 494667 h 857143"/>
                <a:gd name="connsiteX2" fmla="*/ 1229717 w 1229774"/>
                <a:gd name="connsiteY2" fmla="*/ 856486 h 857143"/>
                <a:gd name="connsiteX3" fmla="*/ 913895 w 1229774"/>
                <a:gd name="connsiteY3" fmla="*/ 836593 h 857143"/>
                <a:gd name="connsiteX4" fmla="*/ 377992 w 1229774"/>
                <a:gd name="connsiteY4" fmla="*/ 611544 h 857143"/>
                <a:gd name="connsiteX5" fmla="*/ 518495 w 1229774"/>
                <a:gd name="connsiteY5" fmla="*/ 817942 h 857143"/>
                <a:gd name="connsiteX6" fmla="*/ 273547 w 1229774"/>
                <a:gd name="connsiteY6" fmla="*/ 807995 h 857143"/>
                <a:gd name="connsiteX7" fmla="*/ 1217575 w 1229774"/>
                <a:gd name="connsiteY7" fmla="*/ 14 h 857143"/>
                <a:gd name="connsiteX8" fmla="*/ 1229717 w 1229774"/>
                <a:gd name="connsiteY8" fmla="*/ 994 h 857143"/>
                <a:gd name="connsiteX9" fmla="*/ 926329 w 1229774"/>
                <a:gd name="connsiteY9" fmla="*/ 361591 h 857143"/>
                <a:gd name="connsiteX10" fmla="*/ 0 w 1229774"/>
                <a:gd name="connsiteY10" fmla="*/ 361591 h 857143"/>
                <a:gd name="connsiteX11" fmla="*/ 273547 w 1229774"/>
                <a:gd name="connsiteY11" fmla="*/ 49321 h 857143"/>
                <a:gd name="connsiteX12" fmla="*/ 518495 w 1229774"/>
                <a:gd name="connsiteY12" fmla="*/ 39408 h 857143"/>
                <a:gd name="connsiteX13" fmla="*/ 377992 w 1229774"/>
                <a:gd name="connsiteY13" fmla="*/ 245109 h 857143"/>
                <a:gd name="connsiteX14" fmla="*/ 913895 w 1229774"/>
                <a:gd name="connsiteY14" fmla="*/ 19581 h 857143"/>
                <a:gd name="connsiteX15" fmla="*/ 1217575 w 1229774"/>
                <a:gd name="connsiteY15" fmla="*/ 14 h 85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9774" h="857143">
                  <a:moveTo>
                    <a:pt x="0" y="494667"/>
                  </a:moveTo>
                  <a:lnTo>
                    <a:pt x="926329" y="494667"/>
                  </a:lnTo>
                  <a:cubicBezTo>
                    <a:pt x="944980" y="517048"/>
                    <a:pt x="1223500" y="851513"/>
                    <a:pt x="1229717" y="856486"/>
                  </a:cubicBezTo>
                  <a:cubicBezTo>
                    <a:pt x="1234691" y="861460"/>
                    <a:pt x="913895" y="836593"/>
                    <a:pt x="913895" y="836593"/>
                  </a:cubicBezTo>
                  <a:lnTo>
                    <a:pt x="377992" y="611544"/>
                  </a:lnTo>
                  <a:lnTo>
                    <a:pt x="518495" y="817942"/>
                  </a:lnTo>
                  <a:lnTo>
                    <a:pt x="273547" y="807995"/>
                  </a:lnTo>
                  <a:close/>
                  <a:moveTo>
                    <a:pt x="1217575" y="14"/>
                  </a:moveTo>
                  <a:cubicBezTo>
                    <a:pt x="1225870" y="-71"/>
                    <a:pt x="1230339" y="219"/>
                    <a:pt x="1229717" y="994"/>
                  </a:cubicBezTo>
                  <a:cubicBezTo>
                    <a:pt x="1223500" y="5950"/>
                    <a:pt x="944980" y="338046"/>
                    <a:pt x="926329" y="361591"/>
                  </a:cubicBezTo>
                  <a:lnTo>
                    <a:pt x="0" y="361591"/>
                  </a:lnTo>
                  <a:lnTo>
                    <a:pt x="273547" y="49321"/>
                  </a:lnTo>
                  <a:lnTo>
                    <a:pt x="518495" y="39408"/>
                  </a:lnTo>
                  <a:lnTo>
                    <a:pt x="377992" y="245109"/>
                  </a:lnTo>
                  <a:lnTo>
                    <a:pt x="913895" y="19581"/>
                  </a:lnTo>
                  <a:cubicBezTo>
                    <a:pt x="913895" y="19581"/>
                    <a:pt x="1159504" y="606"/>
                    <a:pt x="1217575" y="14"/>
                  </a:cubicBezTo>
                  <a:close/>
                </a:path>
              </a:pathLst>
            </a:custGeom>
            <a:solidFill>
              <a:schemeClr val="accent6"/>
            </a:solidFill>
            <a:ln>
              <a:noFill/>
            </a:ln>
            <a:effectLst/>
          </p:spPr>
          <p:txBody>
            <a:bodyPr wrap="square" anchor="ctr">
              <a:noAutofit/>
            </a:bodyPr>
            <a:lstStyle/>
            <a:p>
              <a:endParaRPr lang="en-US" dirty="0">
                <a:latin typeface="Poppins" pitchFamily="2" charset="77"/>
              </a:endParaRPr>
            </a:p>
          </p:txBody>
        </p:sp>
      </p:grpSp>
      <p:sp>
        <p:nvSpPr>
          <p:cNvPr id="29" name="TextBox 28">
            <a:extLst>
              <a:ext uri="{FF2B5EF4-FFF2-40B4-BE49-F238E27FC236}">
                <a16:creationId xmlns:a16="http://schemas.microsoft.com/office/drawing/2014/main" id="{F4FCD239-D666-7440-5EF1-640217C0C914}"/>
              </a:ext>
            </a:extLst>
          </p:cNvPr>
          <p:cNvSpPr txBox="1"/>
          <p:nvPr/>
        </p:nvSpPr>
        <p:spPr>
          <a:xfrm>
            <a:off x="8968662" y="4892019"/>
            <a:ext cx="1782322" cy="535531"/>
          </a:xfrm>
          <a:prstGeom prst="rect">
            <a:avLst/>
          </a:prstGeom>
          <a:noFill/>
        </p:spPr>
        <p:txBody>
          <a:bodyPr wrap="square">
            <a:spAutoFit/>
          </a:bodyPr>
          <a:lstStyle/>
          <a:p>
            <a:pPr marL="0" lvl="0" indent="0" algn="ctr" defTabSz="1422400">
              <a:lnSpc>
                <a:spcPct val="90000"/>
              </a:lnSpc>
              <a:spcBef>
                <a:spcPct val="0"/>
              </a:spcBef>
              <a:spcAft>
                <a:spcPct val="35000"/>
              </a:spcAft>
              <a:buNone/>
            </a:pPr>
            <a:r>
              <a:rPr lang="en-US" sz="1600" b="1" kern="1200" dirty="0">
                <a:solidFill>
                  <a:srgbClr val="002060"/>
                </a:solidFill>
              </a:rPr>
              <a:t>Quality Management</a:t>
            </a:r>
            <a:endParaRPr lang="en-US" sz="1600" kern="1200" dirty="0">
              <a:solidFill>
                <a:srgbClr val="002060"/>
              </a:solidFill>
            </a:endParaRPr>
          </a:p>
        </p:txBody>
      </p:sp>
      <p:pic>
        <p:nvPicPr>
          <p:cNvPr id="9" name="Picture 8"/>
          <p:cNvPicPr>
            <a:picLocks noChangeAspect="1"/>
          </p:cNvPicPr>
          <p:nvPr/>
        </p:nvPicPr>
        <p:blipFill>
          <a:blip r:embed="rId7"/>
          <a:stretch>
            <a:fillRect/>
          </a:stretch>
        </p:blipFill>
        <p:spPr>
          <a:xfrm>
            <a:off x="10283584" y="1916741"/>
            <a:ext cx="1661581" cy="2180825"/>
          </a:xfrm>
          <a:prstGeom prst="rect">
            <a:avLst/>
          </a:prstGeom>
        </p:spPr>
      </p:pic>
      <p:pic>
        <p:nvPicPr>
          <p:cNvPr id="14" name="Picture 13"/>
          <p:cNvPicPr>
            <a:picLocks noChangeAspect="1"/>
          </p:cNvPicPr>
          <p:nvPr/>
        </p:nvPicPr>
        <p:blipFill>
          <a:blip r:embed="rId8"/>
          <a:stretch>
            <a:fillRect/>
          </a:stretch>
        </p:blipFill>
        <p:spPr>
          <a:xfrm>
            <a:off x="7922728" y="1916741"/>
            <a:ext cx="1602272" cy="2180825"/>
          </a:xfrm>
          <a:prstGeom prst="rect">
            <a:avLst/>
          </a:prstGeom>
        </p:spPr>
      </p:pic>
      <p:graphicFrame>
        <p:nvGraphicFramePr>
          <p:cNvPr id="32" name="Diagram 31"/>
          <p:cNvGraphicFramePr/>
          <p:nvPr>
            <p:extLst>
              <p:ext uri="{D42A27DB-BD31-4B8C-83A1-F6EECF244321}">
                <p14:modId xmlns:p14="http://schemas.microsoft.com/office/powerpoint/2010/main" val="2015461590"/>
              </p:ext>
            </p:extLst>
          </p:nvPr>
        </p:nvGraphicFramePr>
        <p:xfrm>
          <a:off x="452954" y="2116366"/>
          <a:ext cx="6711190" cy="433223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34" name="Picture 3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19200" y="3763192"/>
            <a:ext cx="341518" cy="341518"/>
          </a:xfrm>
          <a:prstGeom prst="rect">
            <a:avLst/>
          </a:prstGeom>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81503" y="3057625"/>
            <a:ext cx="345647" cy="345647"/>
          </a:xfrm>
          <a:prstGeom prst="rect">
            <a:avLst/>
          </a:prstGeom>
        </p:spPr>
      </p:pic>
      <p:pic>
        <p:nvPicPr>
          <p:cNvPr id="36" name="Picture 3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19200" y="4462711"/>
            <a:ext cx="330743" cy="330743"/>
          </a:xfrm>
          <a:prstGeom prst="rect">
            <a:avLst/>
          </a:prstGeom>
        </p:spPr>
      </p:pic>
      <p:pic>
        <p:nvPicPr>
          <p:cNvPr id="37" name="Picture 3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12996" y="5182039"/>
            <a:ext cx="314154" cy="314154"/>
          </a:xfrm>
          <a:prstGeom prst="rect">
            <a:avLst/>
          </a:prstGeom>
        </p:spPr>
      </p:pic>
      <p:pic>
        <p:nvPicPr>
          <p:cNvPr id="38" name="Picture 3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75321" y="5790003"/>
            <a:ext cx="459617" cy="459617"/>
          </a:xfrm>
          <a:prstGeom prst="rect">
            <a:avLst/>
          </a:prstGeom>
        </p:spPr>
      </p:pic>
      <p:pic>
        <p:nvPicPr>
          <p:cNvPr id="39" name="Picture 3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14692" y="2388528"/>
            <a:ext cx="420246" cy="420246"/>
          </a:xfrm>
          <a:prstGeom prst="rect">
            <a:avLst/>
          </a:prstGeom>
        </p:spPr>
      </p:pic>
    </p:spTree>
    <p:custDataLst>
      <p:tags r:id="rId1"/>
    </p:custDataLst>
    <p:extLst>
      <p:ext uri="{BB962C8B-B14F-4D97-AF65-F5344CB8AC3E}">
        <p14:creationId xmlns:p14="http://schemas.microsoft.com/office/powerpoint/2010/main" val="3086277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3745" y="259633"/>
            <a:ext cx="10438551" cy="481681"/>
          </a:xfrm>
        </p:spPr>
        <p:txBody>
          <a:bodyPr>
            <a:normAutofit/>
          </a:bodyPr>
          <a:lstStyle/>
          <a:p>
            <a:r>
              <a:rPr lang="en-US" dirty="0"/>
              <a:t>Audit impact and accountability eco-system</a:t>
            </a:r>
          </a:p>
        </p:txBody>
      </p:sp>
      <p:sp>
        <p:nvSpPr>
          <p:cNvPr id="386" name="TextBox 385">
            <a:extLst>
              <a:ext uri="{FF2B5EF4-FFF2-40B4-BE49-F238E27FC236}">
                <a16:creationId xmlns:a16="http://schemas.microsoft.com/office/drawing/2014/main" id="{7EF7371E-48F4-44A9-6677-FF1D45CD0621}"/>
              </a:ext>
            </a:extLst>
          </p:cNvPr>
          <p:cNvSpPr txBox="1"/>
          <p:nvPr/>
        </p:nvSpPr>
        <p:spPr>
          <a:xfrm>
            <a:off x="3095415" y="5940797"/>
            <a:ext cx="154863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Nutrition/Transport</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7200" y="3061010"/>
            <a:ext cx="6248401" cy="3387589"/>
          </a:xfrm>
          <a:prstGeom prst="rect">
            <a:avLst/>
          </a:prstGeom>
        </p:spPr>
      </p:pic>
      <p:sp>
        <p:nvSpPr>
          <p:cNvPr id="10" name="Rectangle 9">
            <a:extLst>
              <a:ext uri="{FF2B5EF4-FFF2-40B4-BE49-F238E27FC236}">
                <a16:creationId xmlns:a16="http://schemas.microsoft.com/office/drawing/2014/main" id="{AB08EA71-6D40-A348-86F0-EE2901EB0E47}"/>
              </a:ext>
            </a:extLst>
          </p:cNvPr>
          <p:cNvSpPr/>
          <p:nvPr/>
        </p:nvSpPr>
        <p:spPr>
          <a:xfrm>
            <a:off x="228600" y="947222"/>
            <a:ext cx="11811000" cy="875334"/>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E3BE51B9-C1E3-E24A-80EB-0C84F977515E}"/>
              </a:ext>
            </a:extLst>
          </p:cNvPr>
          <p:cNvSpPr txBox="1"/>
          <p:nvPr/>
        </p:nvSpPr>
        <p:spPr>
          <a:xfrm>
            <a:off x="381000" y="991559"/>
            <a:ext cx="11658600" cy="830997"/>
          </a:xfrm>
          <a:prstGeom prst="rect">
            <a:avLst/>
          </a:prstGeom>
          <a:noFill/>
        </p:spPr>
        <p:txBody>
          <a:bodyPr wrap="square" rtlCol="0">
            <a:spAutoFit/>
          </a:bodyPr>
          <a:lstStyle/>
          <a:p>
            <a:r>
              <a:rPr lang="en-US" sz="1600" b="1" dirty="0">
                <a:solidFill>
                  <a:srgbClr val="002060"/>
                </a:solidFill>
                <a:latin typeface="Century Gothic" panose="020B0502020202020204" pitchFamily="34" charset="0"/>
                <a:cs typeface="Arial" panose="020B0604020202020204" pitchFamily="34" charset="0"/>
              </a:rPr>
              <a:t>Critical that SAIs audit what matters and have maximum impact on the support provided to key stakeholders. </a:t>
            </a:r>
          </a:p>
          <a:p>
            <a:r>
              <a:rPr lang="en-US" sz="1600" b="1" dirty="0">
                <a:solidFill>
                  <a:srgbClr val="002060"/>
                </a:solidFill>
                <a:latin typeface="Century Gothic" panose="020B0502020202020204" pitchFamily="34" charset="0"/>
                <a:cs typeface="Arial" panose="020B0604020202020204" pitchFamily="34" charset="0"/>
              </a:rPr>
              <a:t>As SAI South Africa, we are committing ourselves to making a more direct, consistent and meaningful impact on improving the lived reality of ordinary South Africans over the next seven years</a:t>
            </a:r>
          </a:p>
        </p:txBody>
      </p:sp>
      <p:sp>
        <p:nvSpPr>
          <p:cNvPr id="13" name="Rectangle 12">
            <a:extLst>
              <a:ext uri="{FF2B5EF4-FFF2-40B4-BE49-F238E27FC236}">
                <a16:creationId xmlns:a16="http://schemas.microsoft.com/office/drawing/2014/main" id="{AD758563-4CC3-4A47-9AA7-748F018BFD93}"/>
              </a:ext>
            </a:extLst>
          </p:cNvPr>
          <p:cNvSpPr/>
          <p:nvPr/>
        </p:nvSpPr>
        <p:spPr>
          <a:xfrm>
            <a:off x="228600" y="2028464"/>
            <a:ext cx="6477001" cy="726846"/>
          </a:xfrm>
          <a:prstGeom prst="rect">
            <a:avLst/>
          </a:prstGeom>
          <a:solidFill>
            <a:srgbClr val="002060"/>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DAAC5802-796A-4B4E-B7CC-94813A4DA0EA}"/>
              </a:ext>
            </a:extLst>
          </p:cNvPr>
          <p:cNvSpPr txBox="1"/>
          <p:nvPr/>
        </p:nvSpPr>
        <p:spPr>
          <a:xfrm>
            <a:off x="228600" y="2028199"/>
            <a:ext cx="6519861" cy="677108"/>
          </a:xfrm>
          <a:prstGeom prst="rect">
            <a:avLst/>
          </a:prstGeom>
        </p:spPr>
        <p:txBody>
          <a:bodyPr wrap="square" rtlCol="0">
            <a:spAutoFit/>
          </a:bodyPr>
          <a:lstStyle/>
          <a:p>
            <a:r>
              <a:rPr lang="en-US" sz="1400" b="1" dirty="0">
                <a:solidFill>
                  <a:schemeClr val="bg1"/>
                </a:solidFill>
                <a:latin typeface="Century Gothic" panose="020B0502020202020204" pitchFamily="34" charset="0"/>
                <a:cs typeface="Arial" panose="020B0604020202020204" pitchFamily="34" charset="0"/>
              </a:rPr>
              <a:t>Accountability Ecosystem</a:t>
            </a:r>
          </a:p>
          <a:p>
            <a:r>
              <a:rPr lang="en-US" sz="1200" dirty="0">
                <a:solidFill>
                  <a:schemeClr val="bg1"/>
                </a:solidFill>
                <a:latin typeface="Century Gothic" panose="020B0502020202020204" pitchFamily="34" charset="0"/>
                <a:cs typeface="Arial" panose="020B0604020202020204" pitchFamily="34" charset="0"/>
              </a:rPr>
              <a:t>Broad-based, effective network of stakeholders driving and deepening public sector accountability</a:t>
            </a:r>
          </a:p>
        </p:txBody>
      </p:sp>
      <p:sp>
        <p:nvSpPr>
          <p:cNvPr id="6" name="Oval 5"/>
          <p:cNvSpPr/>
          <p:nvPr/>
        </p:nvSpPr>
        <p:spPr>
          <a:xfrm>
            <a:off x="6410325" y="2927660"/>
            <a:ext cx="381000" cy="26684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Oval 17"/>
          <p:cNvSpPr/>
          <p:nvPr/>
        </p:nvSpPr>
        <p:spPr>
          <a:xfrm>
            <a:off x="6515101" y="6181752"/>
            <a:ext cx="381000" cy="26684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TextBox 18">
            <a:extLst>
              <a:ext uri="{FF2B5EF4-FFF2-40B4-BE49-F238E27FC236}">
                <a16:creationId xmlns:a16="http://schemas.microsoft.com/office/drawing/2014/main" id="{4834E9FA-DACF-5248-8D6C-E9D457118ECE}"/>
              </a:ext>
            </a:extLst>
          </p:cNvPr>
          <p:cNvSpPr txBox="1"/>
          <p:nvPr/>
        </p:nvSpPr>
        <p:spPr>
          <a:xfrm>
            <a:off x="7162799" y="1966644"/>
            <a:ext cx="4876801" cy="800219"/>
          </a:xfrm>
          <a:prstGeom prst="rect">
            <a:avLst/>
          </a:prstGeom>
          <a:noFill/>
          <a:ln>
            <a:solidFill>
              <a:schemeClr val="tx1"/>
            </a:solidFill>
          </a:ln>
        </p:spPr>
        <p:txBody>
          <a:bodyPr wrap="square" rtlCol="0">
            <a:spAutoFit/>
          </a:bodyPr>
          <a:lstStyle/>
          <a:p>
            <a:pPr algn="ctr"/>
            <a:r>
              <a:rPr lang="en-US" sz="3200" dirty="0">
                <a:solidFill>
                  <a:srgbClr val="002060"/>
                </a:solidFill>
                <a:latin typeface="Century Gothic" panose="020B0502020202020204" pitchFamily="34" charset="0"/>
                <a:cs typeface="Arial" panose="020B0604020202020204" pitchFamily="34" charset="0"/>
              </a:rPr>
              <a:t>Our strategic aspiration </a:t>
            </a:r>
            <a:r>
              <a:rPr lang="en-US" sz="1400" dirty="0">
                <a:solidFill>
                  <a:srgbClr val="002060"/>
                </a:solidFill>
                <a:latin typeface="Century Gothic" panose="020B0502020202020204" pitchFamily="34" charset="0"/>
                <a:cs typeface="Arial" panose="020B0604020202020204" pitchFamily="34" charset="0"/>
              </a:rPr>
              <a:t>focusing on strategic goals </a:t>
            </a:r>
          </a:p>
        </p:txBody>
      </p:sp>
      <p:pic>
        <p:nvPicPr>
          <p:cNvPr id="15" name="Picture 14"/>
          <p:cNvPicPr>
            <a:picLocks noChangeAspect="1"/>
          </p:cNvPicPr>
          <p:nvPr/>
        </p:nvPicPr>
        <p:blipFill>
          <a:blip r:embed="rId8"/>
          <a:stretch>
            <a:fillRect/>
          </a:stretch>
        </p:blipFill>
        <p:spPr>
          <a:xfrm>
            <a:off x="7646193" y="2790675"/>
            <a:ext cx="1955007" cy="2038360"/>
          </a:xfrm>
          <a:prstGeom prst="rect">
            <a:avLst/>
          </a:prstGeom>
        </p:spPr>
      </p:pic>
      <p:pic>
        <p:nvPicPr>
          <p:cNvPr id="17" name="Picture 16"/>
          <p:cNvPicPr>
            <a:picLocks noChangeAspect="1"/>
          </p:cNvPicPr>
          <p:nvPr/>
        </p:nvPicPr>
        <p:blipFill>
          <a:blip r:embed="rId9"/>
          <a:stretch>
            <a:fillRect/>
          </a:stretch>
        </p:blipFill>
        <p:spPr>
          <a:xfrm>
            <a:off x="10058400" y="2845375"/>
            <a:ext cx="1905000" cy="1997839"/>
          </a:xfrm>
          <a:prstGeom prst="rect">
            <a:avLst/>
          </a:prstGeom>
        </p:spPr>
      </p:pic>
      <p:pic>
        <p:nvPicPr>
          <p:cNvPr id="20" name="Picture 19"/>
          <p:cNvPicPr>
            <a:picLocks noChangeAspect="1"/>
          </p:cNvPicPr>
          <p:nvPr/>
        </p:nvPicPr>
        <p:blipFill>
          <a:blip r:embed="rId10"/>
          <a:stretch>
            <a:fillRect/>
          </a:stretch>
        </p:blipFill>
        <p:spPr>
          <a:xfrm>
            <a:off x="10033397" y="4754804"/>
            <a:ext cx="1955005" cy="1831322"/>
          </a:xfrm>
          <a:prstGeom prst="rect">
            <a:avLst/>
          </a:prstGeom>
        </p:spPr>
      </p:pic>
      <p:pic>
        <p:nvPicPr>
          <p:cNvPr id="21" name="Picture 20"/>
          <p:cNvPicPr>
            <a:picLocks noChangeAspect="1"/>
          </p:cNvPicPr>
          <p:nvPr/>
        </p:nvPicPr>
        <p:blipFill>
          <a:blip r:embed="rId11"/>
          <a:stretch>
            <a:fillRect/>
          </a:stretch>
        </p:blipFill>
        <p:spPr>
          <a:xfrm>
            <a:off x="7671196" y="4852847"/>
            <a:ext cx="1905000" cy="1783874"/>
          </a:xfrm>
          <a:prstGeom prst="rect">
            <a:avLst/>
          </a:prstGeom>
        </p:spPr>
      </p:pic>
    </p:spTree>
    <p:custDataLst>
      <p:tags r:id="rId1"/>
    </p:custDataLst>
    <p:extLst>
      <p:ext uri="{BB962C8B-B14F-4D97-AF65-F5344CB8AC3E}">
        <p14:creationId xmlns:p14="http://schemas.microsoft.com/office/powerpoint/2010/main" val="28937091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CF8BBA-4367-4B5F-9492-738FB34CB72C}"/>
              </a:ext>
            </a:extLst>
          </p:cNvPr>
          <p:cNvSpPr>
            <a:spLocks noGrp="1"/>
          </p:cNvSpPr>
          <p:nvPr>
            <p:ph type="ctrTitle" idx="4294967295"/>
          </p:nvPr>
        </p:nvSpPr>
        <p:spPr>
          <a:xfrm>
            <a:off x="1296626" y="1921799"/>
            <a:ext cx="8229600" cy="660083"/>
          </a:xfrm>
        </p:spPr>
        <p:txBody>
          <a:bodyPr>
            <a:normAutofit fontScale="90000"/>
          </a:bodyPr>
          <a:lstStyle/>
          <a:p>
            <a:pPr algn="l"/>
            <a:r>
              <a:rPr lang="en-US" dirty="0">
                <a:solidFill>
                  <a:srgbClr val="02A189"/>
                </a:solidFill>
                <a:latin typeface="Century Gothic" panose="020B0502020202020204" pitchFamily="34" charset="0"/>
              </a:rPr>
              <a:t>Stay in touch with the AGSA</a:t>
            </a:r>
          </a:p>
        </p:txBody>
      </p:sp>
      <p:pic>
        <p:nvPicPr>
          <p:cNvPr id="9" name="Graphic 8">
            <a:extLst>
              <a:ext uri="{FF2B5EF4-FFF2-40B4-BE49-F238E27FC236}">
                <a16:creationId xmlns:a16="http://schemas.microsoft.com/office/drawing/2014/main" id="{9ED1A55A-14A0-4CBC-B481-72EE8A05FA5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41853" y="3620464"/>
            <a:ext cx="411480" cy="411480"/>
          </a:xfrm>
          <a:prstGeom prst="rect">
            <a:avLst/>
          </a:prstGeom>
        </p:spPr>
      </p:pic>
      <p:sp>
        <p:nvSpPr>
          <p:cNvPr id="10" name="Oval 9">
            <a:extLst>
              <a:ext uri="{FF2B5EF4-FFF2-40B4-BE49-F238E27FC236}">
                <a16:creationId xmlns:a16="http://schemas.microsoft.com/office/drawing/2014/main" id="{A06805B8-37C1-4400-846B-18A61B76A924}"/>
              </a:ext>
            </a:extLst>
          </p:cNvPr>
          <p:cNvSpPr/>
          <p:nvPr/>
        </p:nvSpPr>
        <p:spPr>
          <a:xfrm>
            <a:off x="1296626" y="3475238"/>
            <a:ext cx="701936" cy="701936"/>
          </a:xfrm>
          <a:prstGeom prst="ellipse">
            <a:avLst/>
          </a:prstGeom>
          <a:noFill/>
          <a:ln w="19050">
            <a:solidFill>
              <a:srgbClr val="8C79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5" dirty="0"/>
          </a:p>
        </p:txBody>
      </p:sp>
      <p:sp>
        <p:nvSpPr>
          <p:cNvPr id="12" name="Oval 11">
            <a:extLst>
              <a:ext uri="{FF2B5EF4-FFF2-40B4-BE49-F238E27FC236}">
                <a16:creationId xmlns:a16="http://schemas.microsoft.com/office/drawing/2014/main" id="{2CD0AC3E-EC21-4364-B889-F8A2D17FF3A6}"/>
              </a:ext>
            </a:extLst>
          </p:cNvPr>
          <p:cNvSpPr/>
          <p:nvPr/>
        </p:nvSpPr>
        <p:spPr>
          <a:xfrm>
            <a:off x="1314696" y="4372984"/>
            <a:ext cx="701936" cy="701936"/>
          </a:xfrm>
          <a:prstGeom prst="ellipse">
            <a:avLst/>
          </a:prstGeom>
          <a:noFill/>
          <a:ln w="19050">
            <a:solidFill>
              <a:srgbClr val="8C79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5" dirty="0"/>
          </a:p>
        </p:txBody>
      </p:sp>
      <p:sp>
        <p:nvSpPr>
          <p:cNvPr id="14" name="Oval 13">
            <a:extLst>
              <a:ext uri="{FF2B5EF4-FFF2-40B4-BE49-F238E27FC236}">
                <a16:creationId xmlns:a16="http://schemas.microsoft.com/office/drawing/2014/main" id="{D2E7EA5F-1B82-45B0-B751-1F25B7066358}"/>
              </a:ext>
            </a:extLst>
          </p:cNvPr>
          <p:cNvSpPr/>
          <p:nvPr/>
        </p:nvSpPr>
        <p:spPr>
          <a:xfrm>
            <a:off x="5102901" y="3475237"/>
            <a:ext cx="701936" cy="701936"/>
          </a:xfrm>
          <a:prstGeom prst="ellipse">
            <a:avLst/>
          </a:prstGeom>
          <a:noFill/>
          <a:ln w="19050">
            <a:solidFill>
              <a:srgbClr val="8C79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5" dirty="0"/>
          </a:p>
        </p:txBody>
      </p:sp>
      <p:sp>
        <p:nvSpPr>
          <p:cNvPr id="16" name="Oval 15">
            <a:extLst>
              <a:ext uri="{FF2B5EF4-FFF2-40B4-BE49-F238E27FC236}">
                <a16:creationId xmlns:a16="http://schemas.microsoft.com/office/drawing/2014/main" id="{97DA8487-7D20-4193-AA01-CFC08A84AFE5}"/>
              </a:ext>
            </a:extLst>
          </p:cNvPr>
          <p:cNvSpPr/>
          <p:nvPr/>
        </p:nvSpPr>
        <p:spPr>
          <a:xfrm>
            <a:off x="5102901" y="4368798"/>
            <a:ext cx="701936" cy="701936"/>
          </a:xfrm>
          <a:prstGeom prst="ellipse">
            <a:avLst/>
          </a:prstGeom>
          <a:noFill/>
          <a:ln w="19050">
            <a:solidFill>
              <a:srgbClr val="8C79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5" dirty="0"/>
          </a:p>
        </p:txBody>
      </p:sp>
      <p:pic>
        <p:nvPicPr>
          <p:cNvPr id="18" name="Graphic 17">
            <a:extLst>
              <a:ext uri="{FF2B5EF4-FFF2-40B4-BE49-F238E27FC236}">
                <a16:creationId xmlns:a16="http://schemas.microsoft.com/office/drawing/2014/main" id="{A6F4BCEB-EFF1-4B8E-AFA9-D2587C4504B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59922" y="4535358"/>
            <a:ext cx="411480" cy="411480"/>
          </a:xfrm>
          <a:prstGeom prst="rect">
            <a:avLst/>
          </a:prstGeom>
        </p:spPr>
      </p:pic>
      <p:pic>
        <p:nvPicPr>
          <p:cNvPr id="20" name="Graphic 19">
            <a:extLst>
              <a:ext uri="{FF2B5EF4-FFF2-40B4-BE49-F238E27FC236}">
                <a16:creationId xmlns:a16="http://schemas.microsoft.com/office/drawing/2014/main" id="{C2879F84-2FBD-40AD-8DDC-283474B32654}"/>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29638" y="4514025"/>
            <a:ext cx="411480" cy="411480"/>
          </a:xfrm>
          <a:prstGeom prst="rect">
            <a:avLst/>
          </a:prstGeom>
        </p:spPr>
      </p:pic>
      <p:pic>
        <p:nvPicPr>
          <p:cNvPr id="22" name="Graphic 21">
            <a:extLst>
              <a:ext uri="{FF2B5EF4-FFF2-40B4-BE49-F238E27FC236}">
                <a16:creationId xmlns:a16="http://schemas.microsoft.com/office/drawing/2014/main" id="{4B4001A0-1892-4ED8-AC2C-7E0FEA8B575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66198" y="3610382"/>
            <a:ext cx="411480" cy="411480"/>
          </a:xfrm>
          <a:prstGeom prst="rect">
            <a:avLst/>
          </a:prstGeom>
        </p:spPr>
      </p:pic>
      <p:sp>
        <p:nvSpPr>
          <p:cNvPr id="23" name="Rectangle 9">
            <a:extLst>
              <a:ext uri="{FF2B5EF4-FFF2-40B4-BE49-F238E27FC236}">
                <a16:creationId xmlns:a16="http://schemas.microsoft.com/office/drawing/2014/main" id="{B4430EC7-7303-4E17-8B4B-D25A64EE9A69}"/>
              </a:ext>
            </a:extLst>
          </p:cNvPr>
          <p:cNvSpPr>
            <a:spLocks noChangeArrowheads="1"/>
          </p:cNvSpPr>
          <p:nvPr/>
        </p:nvSpPr>
        <p:spPr bwMode="auto">
          <a:xfrm>
            <a:off x="2143789" y="3661967"/>
            <a:ext cx="2194561" cy="27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107000"/>
              </a:lnSpc>
              <a:spcBef>
                <a:spcPts val="540"/>
              </a:spcBef>
              <a:spcAft>
                <a:spcPts val="540"/>
              </a:spcAft>
            </a:pPr>
            <a:r>
              <a:rPr lang="en-ZA" altLang="en-US" sz="1215" b="1"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www.agsa.co.za</a:t>
            </a:r>
          </a:p>
        </p:txBody>
      </p:sp>
      <p:sp>
        <p:nvSpPr>
          <p:cNvPr id="24" name="Rectangle 9">
            <a:extLst>
              <a:ext uri="{FF2B5EF4-FFF2-40B4-BE49-F238E27FC236}">
                <a16:creationId xmlns:a16="http://schemas.microsoft.com/office/drawing/2014/main" id="{795BC256-57D3-41A4-9DFA-20A3A036B80F}"/>
              </a:ext>
            </a:extLst>
          </p:cNvPr>
          <p:cNvSpPr>
            <a:spLocks noChangeArrowheads="1"/>
          </p:cNvSpPr>
          <p:nvPr/>
        </p:nvSpPr>
        <p:spPr bwMode="auto">
          <a:xfrm>
            <a:off x="2143789" y="4534196"/>
            <a:ext cx="2194561" cy="27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107000"/>
              </a:lnSpc>
              <a:spcBef>
                <a:spcPts val="540"/>
              </a:spcBef>
              <a:spcAft>
                <a:spcPts val="540"/>
              </a:spcAft>
            </a:pPr>
            <a:r>
              <a:rPr lang="en-ZA" altLang="en-US" sz="1215" b="1"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AuditorGen_SA</a:t>
            </a:r>
          </a:p>
        </p:txBody>
      </p:sp>
      <p:sp>
        <p:nvSpPr>
          <p:cNvPr id="25" name="Rectangle 9">
            <a:extLst>
              <a:ext uri="{FF2B5EF4-FFF2-40B4-BE49-F238E27FC236}">
                <a16:creationId xmlns:a16="http://schemas.microsoft.com/office/drawing/2014/main" id="{B0FCD9CE-9C7E-4DAC-A862-AD14110D31FE}"/>
              </a:ext>
            </a:extLst>
          </p:cNvPr>
          <p:cNvSpPr>
            <a:spLocks noChangeArrowheads="1"/>
          </p:cNvSpPr>
          <p:nvPr/>
        </p:nvSpPr>
        <p:spPr bwMode="auto">
          <a:xfrm>
            <a:off x="5950063" y="3661967"/>
            <a:ext cx="3509685" cy="27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107000"/>
              </a:lnSpc>
              <a:spcBef>
                <a:spcPts val="540"/>
              </a:spcBef>
              <a:spcAft>
                <a:spcPts val="540"/>
              </a:spcAft>
            </a:pPr>
            <a:r>
              <a:rPr lang="en-ZA" altLang="en-US" sz="1215" b="1"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Auditor-General of South Africa</a:t>
            </a:r>
          </a:p>
        </p:txBody>
      </p:sp>
      <p:sp>
        <p:nvSpPr>
          <p:cNvPr id="26" name="Rectangle 9">
            <a:extLst>
              <a:ext uri="{FF2B5EF4-FFF2-40B4-BE49-F238E27FC236}">
                <a16:creationId xmlns:a16="http://schemas.microsoft.com/office/drawing/2014/main" id="{AE79011E-9A2F-486B-A18F-7D1C236129BB}"/>
              </a:ext>
            </a:extLst>
          </p:cNvPr>
          <p:cNvSpPr>
            <a:spLocks noChangeArrowheads="1"/>
          </p:cNvSpPr>
          <p:nvPr/>
        </p:nvSpPr>
        <p:spPr bwMode="auto">
          <a:xfrm>
            <a:off x="5931574" y="4552801"/>
            <a:ext cx="3509685" cy="27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107000"/>
              </a:lnSpc>
              <a:spcBef>
                <a:spcPts val="540"/>
              </a:spcBef>
              <a:spcAft>
                <a:spcPts val="540"/>
              </a:spcAft>
            </a:pPr>
            <a:r>
              <a:rPr lang="en-ZA" altLang="en-US" sz="1215" b="1"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Auditor-General of South Africa</a:t>
            </a:r>
          </a:p>
        </p:txBody>
      </p:sp>
      <p:sp>
        <p:nvSpPr>
          <p:cNvPr id="32" name="Title 3">
            <a:extLst>
              <a:ext uri="{FF2B5EF4-FFF2-40B4-BE49-F238E27FC236}">
                <a16:creationId xmlns:a16="http://schemas.microsoft.com/office/drawing/2014/main" id="{8A1315E4-2C93-F826-C406-53E56C659E29}"/>
              </a:ext>
            </a:extLst>
          </p:cNvPr>
          <p:cNvSpPr txBox="1">
            <a:spLocks/>
          </p:cNvSpPr>
          <p:nvPr/>
        </p:nvSpPr>
        <p:spPr>
          <a:xfrm>
            <a:off x="1228131" y="818433"/>
            <a:ext cx="9336591" cy="830998"/>
          </a:xfrm>
          <a:prstGeom prst="rect">
            <a:avLst/>
          </a:prstGeom>
          <a:ln>
            <a:noFill/>
          </a:ln>
        </p:spPr>
        <p:txBody>
          <a:bodyPr>
            <a:noAutofit/>
          </a:bodyPr>
          <a:lstStyle>
            <a:lvl1pPr marL="0" algn="r" defTabSz="914400" rtl="0" eaLnBrk="1" latinLnBrk="0" hangingPunct="1">
              <a:lnSpc>
                <a:spcPct val="90000"/>
              </a:lnSpc>
              <a:spcBef>
                <a:spcPct val="0"/>
              </a:spcBef>
              <a:buNone/>
              <a:defRPr lang="en-US" sz="2800" b="1" kern="1200">
                <a:solidFill>
                  <a:srgbClr val="AA998B"/>
                </a:solidFill>
                <a:latin typeface="Century Gothic" charset="0"/>
                <a:ea typeface="Century Gothic" charset="0"/>
                <a:cs typeface="Century Gothic" charset="0"/>
              </a:defRPr>
            </a:lvl1pPr>
          </a:lstStyle>
          <a:p>
            <a:pPr algn="l"/>
            <a:r>
              <a:rPr lang="en-ZA" sz="6480" dirty="0">
                <a:solidFill>
                  <a:schemeClr val="bg1"/>
                </a:solidFill>
              </a:rPr>
              <a:t>THANK YOU  </a:t>
            </a:r>
          </a:p>
        </p:txBody>
      </p:sp>
    </p:spTree>
    <p:extLst>
      <p:ext uri="{BB962C8B-B14F-4D97-AF65-F5344CB8AC3E}">
        <p14:creationId xmlns:p14="http://schemas.microsoft.com/office/powerpoint/2010/main" val="1614266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AGSA Colour codes">
      <a:dk1>
        <a:srgbClr val="000000"/>
      </a:dk1>
      <a:lt1>
        <a:srgbClr val="FFFFFF"/>
      </a:lt1>
      <a:dk2>
        <a:srgbClr val="44546A"/>
      </a:dk2>
      <a:lt2>
        <a:srgbClr val="E7E6E6"/>
      </a:lt2>
      <a:accent1>
        <a:srgbClr val="172C54"/>
      </a:accent1>
      <a:accent2>
        <a:srgbClr val="00A88E"/>
      </a:accent2>
      <a:accent3>
        <a:srgbClr val="5DA9DD"/>
      </a:accent3>
      <a:accent4>
        <a:srgbClr val="ABD693"/>
      </a:accent4>
      <a:accent5>
        <a:srgbClr val="E1C832"/>
      </a:accent5>
      <a:accent6>
        <a:srgbClr val="E2792B"/>
      </a:accent6>
      <a:hlink>
        <a:srgbClr val="880027"/>
      </a:hlink>
      <a:folHlink>
        <a:srgbClr val="97857B"/>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613d7b2-f2b4-42d8-91f0-22e73370fca6">
      <UserInfo>
        <DisplayName>Nicole David (SM)</DisplayName>
        <AccountId>11</AccountId>
        <AccountType/>
      </UserInfo>
      <UserInfo>
        <DisplayName>Awareness2022 Awareness</DisplayName>
        <AccountId>1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5D9C9655DF83B45A75B3DEC9CE6DBB0" ma:contentTypeVersion="4" ma:contentTypeDescription="Create a new document." ma:contentTypeScope="" ma:versionID="bce1fc6a917e31657fd7b8ce90930e19">
  <xsd:schema xmlns:xsd="http://www.w3.org/2001/XMLSchema" xmlns:xs="http://www.w3.org/2001/XMLSchema" xmlns:p="http://schemas.microsoft.com/office/2006/metadata/properties" xmlns:ns2="203d657e-ab2f-4dd7-836d-7f2cab809254" xmlns:ns3="e613d7b2-f2b4-42d8-91f0-22e73370fca6" targetNamespace="http://schemas.microsoft.com/office/2006/metadata/properties" ma:root="true" ma:fieldsID="ac4817149c0058115d480604ce45446e" ns2:_="" ns3:_="">
    <xsd:import namespace="203d657e-ab2f-4dd7-836d-7f2cab809254"/>
    <xsd:import namespace="e613d7b2-f2b4-42d8-91f0-22e73370fc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3d657e-ab2f-4dd7-836d-7f2cab8092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613d7b2-f2b4-42d8-91f0-22e73370fc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C7BA96-C7F4-444D-90C4-8C164F2A8BD9}">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203d657e-ab2f-4dd7-836d-7f2cab809254"/>
    <ds:schemaRef ds:uri="http://purl.org/dc/terms/"/>
    <ds:schemaRef ds:uri="http://schemas.openxmlformats.org/package/2006/metadata/core-properties"/>
    <ds:schemaRef ds:uri="e613d7b2-f2b4-42d8-91f0-22e73370fca6"/>
    <ds:schemaRef ds:uri="http://www.w3.org/XML/1998/namespace"/>
    <ds:schemaRef ds:uri="http://purl.org/dc/elements/1.1/"/>
  </ds:schemaRefs>
</ds:datastoreItem>
</file>

<file path=customXml/itemProps2.xml><?xml version="1.0" encoding="utf-8"?>
<ds:datastoreItem xmlns:ds="http://schemas.openxmlformats.org/officeDocument/2006/customXml" ds:itemID="{41A36D93-8AAC-430F-8F0F-F683A47F8D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3d657e-ab2f-4dd7-836d-7f2cab809254"/>
    <ds:schemaRef ds:uri="e613d7b2-f2b4-42d8-91f0-22e73370fc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69EB1A-D6A1-4526-A82C-CAE98D4836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364</TotalTime>
  <Words>606</Words>
  <Application>Microsoft Office PowerPoint</Application>
  <PresentationFormat>Bredbild</PresentationFormat>
  <Paragraphs>82</Paragraphs>
  <Slides>6</Slides>
  <Notes>6</Notes>
  <HiddenSlides>0</HiddenSlides>
  <MMClips>0</MMClips>
  <ScaleCrop>false</ScaleCrop>
  <HeadingPairs>
    <vt:vector size="8" baseType="variant">
      <vt:variant>
        <vt:lpstr>Använt teckensnitt</vt:lpstr>
      </vt:variant>
      <vt:variant>
        <vt:i4>7</vt:i4>
      </vt:variant>
      <vt:variant>
        <vt:lpstr>Tema</vt:lpstr>
      </vt:variant>
      <vt:variant>
        <vt:i4>3</vt:i4>
      </vt:variant>
      <vt:variant>
        <vt:lpstr>Serverprogram för OLE-inbäddning</vt:lpstr>
      </vt:variant>
      <vt:variant>
        <vt:i4>1</vt:i4>
      </vt:variant>
      <vt:variant>
        <vt:lpstr>Bildrubriker</vt:lpstr>
      </vt:variant>
      <vt:variant>
        <vt:i4>6</vt:i4>
      </vt:variant>
    </vt:vector>
  </HeadingPairs>
  <TitlesOfParts>
    <vt:vector size="17" baseType="lpstr">
      <vt:lpstr>Arial</vt:lpstr>
      <vt:lpstr>Calibri</vt:lpstr>
      <vt:lpstr>Calibri Light</vt:lpstr>
      <vt:lpstr>Century Gothic</vt:lpstr>
      <vt:lpstr>Century Gothic Bold</vt:lpstr>
      <vt:lpstr>Function</vt:lpstr>
      <vt:lpstr>Poppins</vt:lpstr>
      <vt:lpstr>3_Custom Design</vt:lpstr>
      <vt:lpstr>2_Office Theme</vt:lpstr>
      <vt:lpstr>Office Theme</vt:lpstr>
      <vt:lpstr>think-cell Slide</vt:lpstr>
      <vt:lpstr>PowerPoint-presentation</vt:lpstr>
      <vt:lpstr>OUR MISSION AND VISION</vt:lpstr>
      <vt:lpstr>Quality Management</vt:lpstr>
      <vt:lpstr>Capacitation eco-system</vt:lpstr>
      <vt:lpstr>Audit impact and accountability eco-system</vt:lpstr>
      <vt:lpstr>Stay in touch with the AGS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debe,Phumlani (SM)</dc:creator>
  <cp:lastModifiedBy>Anna Jannesson</cp:lastModifiedBy>
  <cp:revision>139</cp:revision>
  <cp:lastPrinted>2022-11-16T06:50:46Z</cp:lastPrinted>
  <dcterms:created xsi:type="dcterms:W3CDTF">2022-09-19T05:35:23Z</dcterms:created>
  <dcterms:modified xsi:type="dcterms:W3CDTF">2023-06-21T18:5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ContentTypeId" pid="2">
    <vt:lpwstr>0x01010025D9C9655DF83B45A75B3DEC9CE6DBB0</vt:lpwstr>
  </property>
  <property fmtid="{D5CDD505-2E9C-101B-9397-08002B2CF9AE}" name="Created" pid="3">
    <vt:filetime>2022-09-17T00:00:00Z</vt:filetime>
  </property>
  <property fmtid="{D5CDD505-2E9C-101B-9397-08002B2CF9AE}" name="Creator" pid="4">
    <vt:lpwstr>Microsoft® PowerPoint® for Microsoft 365</vt:lpwstr>
  </property>
  <property fmtid="{D5CDD505-2E9C-101B-9397-08002B2CF9AE}" name="LastSaved" pid="5">
    <vt:filetime>2022-09-19T00:00:00Z</vt:filetime>
  </property>
  <property fmtid="{D5CDD505-2E9C-101B-9397-08002B2CF9AE}" name="NXPowerLiteLastOptimized" pid="6">
    <vt:lpwstr>2478509</vt:lpwstr>
  </property>
  <property fmtid="{D5CDD505-2E9C-101B-9397-08002B2CF9AE}" name="NXPowerLiteSettings" pid="7">
    <vt:lpwstr>E700052003A000</vt:lpwstr>
  </property>
  <property fmtid="{D5CDD505-2E9C-101B-9397-08002B2CF9AE}" name="NXPowerLiteVersion" pid="8">
    <vt:lpwstr>D9.1.7</vt:lpwstr>
  </property>
  <property fmtid="{D5CDD505-2E9C-101B-9397-08002B2CF9AE}" name="Producer" pid="9">
    <vt:lpwstr>Microsoft® PowerPoint® for Microsoft 365</vt:lpwstr>
  </property>
</Properties>
</file>